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4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25101D-095D-46E5-90C6-FA433D12D998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0D7CC9-19C5-4E8E-A4F5-41CFD217C57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13066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2331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68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05651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583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19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230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8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4105527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8AACFB3-F267-E3FC-FEAA-F7295BFE7B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AACFB3-F267-E3FC-FEAA-F7295BFE7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2605397" y="1104642"/>
            <a:ext cx="6981191" cy="4953251"/>
            <a:chOff x="9708784" y="2997891"/>
            <a:chExt cx="13564358" cy="9624094"/>
          </a:xfrm>
          <a:solidFill>
            <a:schemeClr val="bg2"/>
          </a:solidFill>
        </p:grpSpPr>
        <p:sp>
          <p:nvSpPr>
            <p:cNvPr id="8" name="Freeform 149"/>
            <p:cNvSpPr>
              <a:spLocks noChangeArrowheads="1"/>
            </p:cNvSpPr>
            <p:nvPr/>
          </p:nvSpPr>
          <p:spPr bwMode="auto">
            <a:xfrm>
              <a:off x="13625275" y="3650682"/>
              <a:ext cx="4480782" cy="3593401"/>
            </a:xfrm>
            <a:custGeom>
              <a:avLst/>
              <a:gdLst>
                <a:gd name="T0" fmla="*/ 4907 w 6476"/>
                <a:gd name="T1" fmla="*/ 1068 h 5194"/>
                <a:gd name="T2" fmla="*/ 4913 w 6476"/>
                <a:gd name="T3" fmla="*/ 1403 h 5194"/>
                <a:gd name="T4" fmla="*/ 4868 w 6476"/>
                <a:gd name="T5" fmla="*/ 1807 h 5194"/>
                <a:gd name="T6" fmla="*/ 5333 w 6476"/>
                <a:gd name="T7" fmla="*/ 1921 h 5194"/>
                <a:gd name="T8" fmla="*/ 5987 w 6476"/>
                <a:gd name="T9" fmla="*/ 1898 h 5194"/>
                <a:gd name="T10" fmla="*/ 6277 w 6476"/>
                <a:gd name="T11" fmla="*/ 2193 h 5194"/>
                <a:gd name="T12" fmla="*/ 6441 w 6476"/>
                <a:gd name="T13" fmla="*/ 2585 h 5194"/>
                <a:gd name="T14" fmla="*/ 6203 w 6476"/>
                <a:gd name="T15" fmla="*/ 3074 h 5194"/>
                <a:gd name="T16" fmla="*/ 6027 w 6476"/>
                <a:gd name="T17" fmla="*/ 3403 h 5194"/>
                <a:gd name="T18" fmla="*/ 6095 w 6476"/>
                <a:gd name="T19" fmla="*/ 3574 h 5194"/>
                <a:gd name="T20" fmla="*/ 5606 w 6476"/>
                <a:gd name="T21" fmla="*/ 3511 h 5194"/>
                <a:gd name="T22" fmla="*/ 5203 w 6476"/>
                <a:gd name="T23" fmla="*/ 3290 h 5194"/>
                <a:gd name="T24" fmla="*/ 4635 w 6476"/>
                <a:gd name="T25" fmla="*/ 3273 h 5194"/>
                <a:gd name="T26" fmla="*/ 4282 w 6476"/>
                <a:gd name="T27" fmla="*/ 3443 h 5194"/>
                <a:gd name="T28" fmla="*/ 3812 w 6476"/>
                <a:gd name="T29" fmla="*/ 3949 h 5194"/>
                <a:gd name="T30" fmla="*/ 3442 w 6476"/>
                <a:gd name="T31" fmla="*/ 4341 h 5194"/>
                <a:gd name="T32" fmla="*/ 3363 w 6476"/>
                <a:gd name="T33" fmla="*/ 4642 h 5194"/>
                <a:gd name="T34" fmla="*/ 3090 w 6476"/>
                <a:gd name="T35" fmla="*/ 4767 h 5194"/>
                <a:gd name="T36" fmla="*/ 2778 w 6476"/>
                <a:gd name="T37" fmla="*/ 4875 h 5194"/>
                <a:gd name="T38" fmla="*/ 2266 w 6476"/>
                <a:gd name="T39" fmla="*/ 5147 h 5194"/>
                <a:gd name="T40" fmla="*/ 2016 w 6476"/>
                <a:gd name="T41" fmla="*/ 4920 h 5194"/>
                <a:gd name="T42" fmla="*/ 1556 w 6476"/>
                <a:gd name="T43" fmla="*/ 4750 h 5194"/>
                <a:gd name="T44" fmla="*/ 1136 w 6476"/>
                <a:gd name="T45" fmla="*/ 4608 h 5194"/>
                <a:gd name="T46" fmla="*/ 630 w 6476"/>
                <a:gd name="T47" fmla="*/ 4852 h 5194"/>
                <a:gd name="T48" fmla="*/ 266 w 6476"/>
                <a:gd name="T49" fmla="*/ 4829 h 5194"/>
                <a:gd name="T50" fmla="*/ 312 w 6476"/>
                <a:gd name="T51" fmla="*/ 4312 h 5194"/>
                <a:gd name="T52" fmla="*/ 170 w 6476"/>
                <a:gd name="T53" fmla="*/ 3653 h 5194"/>
                <a:gd name="T54" fmla="*/ 522 w 6476"/>
                <a:gd name="T55" fmla="*/ 3301 h 5194"/>
                <a:gd name="T56" fmla="*/ 789 w 6476"/>
                <a:gd name="T57" fmla="*/ 3148 h 5194"/>
                <a:gd name="T58" fmla="*/ 965 w 6476"/>
                <a:gd name="T59" fmla="*/ 2932 h 5194"/>
                <a:gd name="T60" fmla="*/ 698 w 6476"/>
                <a:gd name="T61" fmla="*/ 2631 h 5194"/>
                <a:gd name="T62" fmla="*/ 619 w 6476"/>
                <a:gd name="T63" fmla="*/ 2227 h 5194"/>
                <a:gd name="T64" fmla="*/ 119 w 6476"/>
                <a:gd name="T65" fmla="*/ 2108 h 5194"/>
                <a:gd name="T66" fmla="*/ 261 w 6476"/>
                <a:gd name="T67" fmla="*/ 1688 h 5194"/>
                <a:gd name="T68" fmla="*/ 306 w 6476"/>
                <a:gd name="T69" fmla="*/ 1262 h 5194"/>
                <a:gd name="T70" fmla="*/ 22 w 6476"/>
                <a:gd name="T71" fmla="*/ 1046 h 5194"/>
                <a:gd name="T72" fmla="*/ 301 w 6476"/>
                <a:gd name="T73" fmla="*/ 608 h 5194"/>
                <a:gd name="T74" fmla="*/ 573 w 6476"/>
                <a:gd name="T75" fmla="*/ 546 h 5194"/>
                <a:gd name="T76" fmla="*/ 1221 w 6476"/>
                <a:gd name="T77" fmla="*/ 290 h 5194"/>
                <a:gd name="T78" fmla="*/ 1937 w 6476"/>
                <a:gd name="T79" fmla="*/ 341 h 5194"/>
                <a:gd name="T80" fmla="*/ 2545 w 6476"/>
                <a:gd name="T81" fmla="*/ 91 h 5194"/>
                <a:gd name="T82" fmla="*/ 2744 w 6476"/>
                <a:gd name="T83" fmla="*/ 245 h 5194"/>
                <a:gd name="T84" fmla="*/ 3175 w 6476"/>
                <a:gd name="T85" fmla="*/ 324 h 5194"/>
                <a:gd name="T86" fmla="*/ 3641 w 6476"/>
                <a:gd name="T87" fmla="*/ 773 h 5194"/>
                <a:gd name="T88" fmla="*/ 3971 w 6476"/>
                <a:gd name="T89" fmla="*/ 625 h 5194"/>
                <a:gd name="T90" fmla="*/ 3772 w 6476"/>
                <a:gd name="T91" fmla="*/ 506 h 5194"/>
                <a:gd name="T92" fmla="*/ 4368 w 6476"/>
                <a:gd name="T93" fmla="*/ 176 h 5194"/>
                <a:gd name="T94" fmla="*/ 4805 w 6476"/>
                <a:gd name="T95" fmla="*/ 120 h 5194"/>
                <a:gd name="T96" fmla="*/ 4930 w 6476"/>
                <a:gd name="T97" fmla="*/ 455 h 5194"/>
                <a:gd name="T98" fmla="*/ 4691 w 6476"/>
                <a:gd name="T99" fmla="*/ 517 h 5194"/>
                <a:gd name="T100" fmla="*/ 4845 w 6476"/>
                <a:gd name="T101" fmla="*/ 642 h 5194"/>
                <a:gd name="T102" fmla="*/ 5135 w 6476"/>
                <a:gd name="T103" fmla="*/ 994 h 5194"/>
                <a:gd name="T104" fmla="*/ 3431 w 6476"/>
                <a:gd name="T105" fmla="*/ 4273 h 5194"/>
                <a:gd name="T106" fmla="*/ 5288 w 6476"/>
                <a:gd name="T107" fmla="*/ 756 h 5194"/>
                <a:gd name="T108" fmla="*/ 5572 w 6476"/>
                <a:gd name="T109" fmla="*/ 994 h 5194"/>
                <a:gd name="T110" fmla="*/ 4987 w 6476"/>
                <a:gd name="T111" fmla="*/ 1057 h 5194"/>
                <a:gd name="T112" fmla="*/ 5066 w 6476"/>
                <a:gd name="T113" fmla="*/ 1057 h 5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6" h="5194">
                  <a:moveTo>
                    <a:pt x="5146" y="1017"/>
                  </a:moveTo>
                  <a:lnTo>
                    <a:pt x="5146" y="1017"/>
                  </a:lnTo>
                  <a:cubicBezTo>
                    <a:pt x="5106" y="1034"/>
                    <a:pt x="5106" y="1034"/>
                    <a:pt x="5106" y="1034"/>
                  </a:cubicBezTo>
                  <a:cubicBezTo>
                    <a:pt x="5083" y="1051"/>
                    <a:pt x="5066" y="1012"/>
                    <a:pt x="5044" y="1012"/>
                  </a:cubicBezTo>
                  <a:cubicBezTo>
                    <a:pt x="5027" y="1012"/>
                    <a:pt x="5004" y="1006"/>
                    <a:pt x="4992" y="1006"/>
                  </a:cubicBezTo>
                  <a:cubicBezTo>
                    <a:pt x="4975" y="1006"/>
                    <a:pt x="4964" y="1017"/>
                    <a:pt x="4953" y="1017"/>
                  </a:cubicBezTo>
                  <a:cubicBezTo>
                    <a:pt x="4930" y="1017"/>
                    <a:pt x="4902" y="1012"/>
                    <a:pt x="4885" y="1023"/>
                  </a:cubicBezTo>
                  <a:cubicBezTo>
                    <a:pt x="4879" y="1029"/>
                    <a:pt x="4902" y="1057"/>
                    <a:pt x="4907" y="1068"/>
                  </a:cubicBezTo>
                  <a:cubicBezTo>
                    <a:pt x="4913" y="1085"/>
                    <a:pt x="4885" y="1114"/>
                    <a:pt x="4879" y="1131"/>
                  </a:cubicBezTo>
                  <a:cubicBezTo>
                    <a:pt x="4868" y="1154"/>
                    <a:pt x="4828" y="1159"/>
                    <a:pt x="4828" y="1182"/>
                  </a:cubicBezTo>
                  <a:cubicBezTo>
                    <a:pt x="4828" y="1188"/>
                    <a:pt x="4828" y="1188"/>
                    <a:pt x="4828" y="1188"/>
                  </a:cubicBezTo>
                  <a:cubicBezTo>
                    <a:pt x="4868" y="1188"/>
                    <a:pt x="4896" y="1171"/>
                    <a:pt x="4885" y="1228"/>
                  </a:cubicBezTo>
                  <a:cubicBezTo>
                    <a:pt x="4885" y="1239"/>
                    <a:pt x="4862" y="1262"/>
                    <a:pt x="4868" y="1273"/>
                  </a:cubicBezTo>
                  <a:cubicBezTo>
                    <a:pt x="4873" y="1279"/>
                    <a:pt x="4907" y="1296"/>
                    <a:pt x="4913" y="1296"/>
                  </a:cubicBezTo>
                  <a:cubicBezTo>
                    <a:pt x="4919" y="1324"/>
                    <a:pt x="4919" y="1313"/>
                    <a:pt x="4913" y="1341"/>
                  </a:cubicBezTo>
                  <a:cubicBezTo>
                    <a:pt x="4902" y="1347"/>
                    <a:pt x="4913" y="1392"/>
                    <a:pt x="4913" y="1403"/>
                  </a:cubicBezTo>
                  <a:cubicBezTo>
                    <a:pt x="4919" y="1426"/>
                    <a:pt x="4907" y="1455"/>
                    <a:pt x="4890" y="1421"/>
                  </a:cubicBezTo>
                  <a:cubicBezTo>
                    <a:pt x="4885" y="1409"/>
                    <a:pt x="4868" y="1387"/>
                    <a:pt x="4856" y="1409"/>
                  </a:cubicBezTo>
                  <a:cubicBezTo>
                    <a:pt x="4850" y="1432"/>
                    <a:pt x="4913" y="1449"/>
                    <a:pt x="4873" y="1483"/>
                  </a:cubicBezTo>
                  <a:cubicBezTo>
                    <a:pt x="4850" y="1500"/>
                    <a:pt x="4845" y="1506"/>
                    <a:pt x="4856" y="1540"/>
                  </a:cubicBezTo>
                  <a:cubicBezTo>
                    <a:pt x="4862" y="1574"/>
                    <a:pt x="4856" y="1625"/>
                    <a:pt x="4856" y="1659"/>
                  </a:cubicBezTo>
                  <a:cubicBezTo>
                    <a:pt x="4856" y="1671"/>
                    <a:pt x="4856" y="1699"/>
                    <a:pt x="4850" y="1710"/>
                  </a:cubicBezTo>
                  <a:cubicBezTo>
                    <a:pt x="4839" y="1722"/>
                    <a:pt x="4822" y="1739"/>
                    <a:pt x="4822" y="1750"/>
                  </a:cubicBezTo>
                  <a:cubicBezTo>
                    <a:pt x="4833" y="1761"/>
                    <a:pt x="4862" y="1790"/>
                    <a:pt x="4868" y="1807"/>
                  </a:cubicBezTo>
                  <a:cubicBezTo>
                    <a:pt x="4873" y="1835"/>
                    <a:pt x="4902" y="1830"/>
                    <a:pt x="4907" y="1847"/>
                  </a:cubicBezTo>
                  <a:cubicBezTo>
                    <a:pt x="4924" y="1887"/>
                    <a:pt x="4930" y="1926"/>
                    <a:pt x="4987" y="1915"/>
                  </a:cubicBezTo>
                  <a:cubicBezTo>
                    <a:pt x="5027" y="1903"/>
                    <a:pt x="5049" y="1909"/>
                    <a:pt x="5061" y="1949"/>
                  </a:cubicBezTo>
                  <a:cubicBezTo>
                    <a:pt x="5066" y="1983"/>
                    <a:pt x="5083" y="2006"/>
                    <a:pt x="5095" y="2040"/>
                  </a:cubicBezTo>
                  <a:cubicBezTo>
                    <a:pt x="5117" y="2074"/>
                    <a:pt x="5157" y="2029"/>
                    <a:pt x="5180" y="2011"/>
                  </a:cubicBezTo>
                  <a:cubicBezTo>
                    <a:pt x="5208" y="1989"/>
                    <a:pt x="5220" y="2017"/>
                    <a:pt x="5231" y="1972"/>
                  </a:cubicBezTo>
                  <a:cubicBezTo>
                    <a:pt x="5237" y="1943"/>
                    <a:pt x="5248" y="1852"/>
                    <a:pt x="5294" y="1869"/>
                  </a:cubicBezTo>
                  <a:cubicBezTo>
                    <a:pt x="5322" y="1875"/>
                    <a:pt x="5345" y="1869"/>
                    <a:pt x="5333" y="1921"/>
                  </a:cubicBezTo>
                  <a:cubicBezTo>
                    <a:pt x="5322" y="1960"/>
                    <a:pt x="5259" y="2000"/>
                    <a:pt x="5282" y="2051"/>
                  </a:cubicBezTo>
                  <a:cubicBezTo>
                    <a:pt x="5294" y="2074"/>
                    <a:pt x="5396" y="2074"/>
                    <a:pt x="5419" y="2063"/>
                  </a:cubicBezTo>
                  <a:cubicBezTo>
                    <a:pt x="5481" y="2051"/>
                    <a:pt x="5487" y="2097"/>
                    <a:pt x="5527" y="2017"/>
                  </a:cubicBezTo>
                  <a:cubicBezTo>
                    <a:pt x="5555" y="1966"/>
                    <a:pt x="5589" y="1949"/>
                    <a:pt x="5589" y="1881"/>
                  </a:cubicBezTo>
                  <a:cubicBezTo>
                    <a:pt x="5612" y="1875"/>
                    <a:pt x="5629" y="1892"/>
                    <a:pt x="5657" y="1869"/>
                  </a:cubicBezTo>
                  <a:cubicBezTo>
                    <a:pt x="5708" y="1824"/>
                    <a:pt x="5794" y="1830"/>
                    <a:pt x="5850" y="1847"/>
                  </a:cubicBezTo>
                  <a:cubicBezTo>
                    <a:pt x="5856" y="1858"/>
                    <a:pt x="5862" y="1909"/>
                    <a:pt x="5867" y="1921"/>
                  </a:cubicBezTo>
                  <a:cubicBezTo>
                    <a:pt x="5879" y="1932"/>
                    <a:pt x="5958" y="1898"/>
                    <a:pt x="5987" y="1898"/>
                  </a:cubicBezTo>
                  <a:cubicBezTo>
                    <a:pt x="6004" y="1898"/>
                    <a:pt x="6021" y="1898"/>
                    <a:pt x="6038" y="1903"/>
                  </a:cubicBezTo>
                  <a:cubicBezTo>
                    <a:pt x="6049" y="1903"/>
                    <a:pt x="6078" y="1932"/>
                    <a:pt x="6049" y="1938"/>
                  </a:cubicBezTo>
                  <a:cubicBezTo>
                    <a:pt x="6049" y="1943"/>
                    <a:pt x="6015" y="1955"/>
                    <a:pt x="6004" y="1966"/>
                  </a:cubicBezTo>
                  <a:cubicBezTo>
                    <a:pt x="6004" y="1966"/>
                    <a:pt x="6044" y="2023"/>
                    <a:pt x="6055" y="2029"/>
                  </a:cubicBezTo>
                  <a:cubicBezTo>
                    <a:pt x="6078" y="2057"/>
                    <a:pt x="6055" y="2063"/>
                    <a:pt x="6061" y="2097"/>
                  </a:cubicBezTo>
                  <a:cubicBezTo>
                    <a:pt x="6083" y="2142"/>
                    <a:pt x="6072" y="2136"/>
                    <a:pt x="6123" y="2148"/>
                  </a:cubicBezTo>
                  <a:cubicBezTo>
                    <a:pt x="6146" y="2153"/>
                    <a:pt x="6169" y="2153"/>
                    <a:pt x="6186" y="2165"/>
                  </a:cubicBezTo>
                  <a:cubicBezTo>
                    <a:pt x="6225" y="2188"/>
                    <a:pt x="6220" y="2216"/>
                    <a:pt x="6277" y="2193"/>
                  </a:cubicBezTo>
                  <a:cubicBezTo>
                    <a:pt x="6311" y="2176"/>
                    <a:pt x="6345" y="2148"/>
                    <a:pt x="6385" y="2142"/>
                  </a:cubicBezTo>
                  <a:lnTo>
                    <a:pt x="6385" y="2142"/>
                  </a:lnTo>
                  <a:cubicBezTo>
                    <a:pt x="6385" y="2199"/>
                    <a:pt x="6385" y="2199"/>
                    <a:pt x="6385" y="2199"/>
                  </a:cubicBezTo>
                  <a:cubicBezTo>
                    <a:pt x="6385" y="2233"/>
                    <a:pt x="6390" y="2239"/>
                    <a:pt x="6413" y="2261"/>
                  </a:cubicBezTo>
                  <a:cubicBezTo>
                    <a:pt x="6458" y="2312"/>
                    <a:pt x="6401" y="2375"/>
                    <a:pt x="6401" y="2420"/>
                  </a:cubicBezTo>
                  <a:cubicBezTo>
                    <a:pt x="6447" y="2432"/>
                    <a:pt x="6419" y="2500"/>
                    <a:pt x="6475" y="2511"/>
                  </a:cubicBezTo>
                  <a:lnTo>
                    <a:pt x="6475" y="2511"/>
                  </a:lnTo>
                  <a:cubicBezTo>
                    <a:pt x="6475" y="2551"/>
                    <a:pt x="6441" y="2557"/>
                    <a:pt x="6441" y="2585"/>
                  </a:cubicBezTo>
                  <a:cubicBezTo>
                    <a:pt x="6441" y="2653"/>
                    <a:pt x="6430" y="2614"/>
                    <a:pt x="6385" y="2631"/>
                  </a:cubicBezTo>
                  <a:cubicBezTo>
                    <a:pt x="6379" y="2653"/>
                    <a:pt x="6373" y="2665"/>
                    <a:pt x="6350" y="2665"/>
                  </a:cubicBezTo>
                  <a:cubicBezTo>
                    <a:pt x="6339" y="2665"/>
                    <a:pt x="6328" y="2699"/>
                    <a:pt x="6311" y="2710"/>
                  </a:cubicBezTo>
                  <a:cubicBezTo>
                    <a:pt x="6311" y="2750"/>
                    <a:pt x="6242" y="2699"/>
                    <a:pt x="6220" y="2727"/>
                  </a:cubicBezTo>
                  <a:cubicBezTo>
                    <a:pt x="6191" y="2756"/>
                    <a:pt x="6254" y="2790"/>
                    <a:pt x="6242" y="2818"/>
                  </a:cubicBezTo>
                  <a:cubicBezTo>
                    <a:pt x="6231" y="2841"/>
                    <a:pt x="6220" y="2886"/>
                    <a:pt x="6237" y="2903"/>
                  </a:cubicBezTo>
                  <a:cubicBezTo>
                    <a:pt x="6254" y="2932"/>
                    <a:pt x="6288" y="3017"/>
                    <a:pt x="6259" y="3034"/>
                  </a:cubicBezTo>
                  <a:cubicBezTo>
                    <a:pt x="6203" y="3074"/>
                    <a:pt x="6203" y="3074"/>
                    <a:pt x="6203" y="3074"/>
                  </a:cubicBezTo>
                  <a:cubicBezTo>
                    <a:pt x="6163" y="3102"/>
                    <a:pt x="6163" y="3040"/>
                    <a:pt x="6146" y="3011"/>
                  </a:cubicBezTo>
                  <a:cubicBezTo>
                    <a:pt x="6140" y="3000"/>
                    <a:pt x="6095" y="2977"/>
                    <a:pt x="6083" y="2983"/>
                  </a:cubicBezTo>
                  <a:cubicBezTo>
                    <a:pt x="6061" y="2989"/>
                    <a:pt x="6072" y="3085"/>
                    <a:pt x="6044" y="3114"/>
                  </a:cubicBezTo>
                  <a:cubicBezTo>
                    <a:pt x="6032" y="3125"/>
                    <a:pt x="5992" y="3125"/>
                    <a:pt x="6004" y="3142"/>
                  </a:cubicBezTo>
                  <a:cubicBezTo>
                    <a:pt x="6015" y="3165"/>
                    <a:pt x="5992" y="3182"/>
                    <a:pt x="5992" y="3204"/>
                  </a:cubicBezTo>
                  <a:cubicBezTo>
                    <a:pt x="5998" y="3239"/>
                    <a:pt x="6015" y="3278"/>
                    <a:pt x="6027" y="3312"/>
                  </a:cubicBezTo>
                  <a:cubicBezTo>
                    <a:pt x="6032" y="3329"/>
                    <a:pt x="6027" y="3352"/>
                    <a:pt x="6027" y="3369"/>
                  </a:cubicBezTo>
                  <a:lnTo>
                    <a:pt x="6027" y="3403"/>
                  </a:lnTo>
                  <a:cubicBezTo>
                    <a:pt x="6032" y="3409"/>
                    <a:pt x="6066" y="3415"/>
                    <a:pt x="6072" y="3415"/>
                  </a:cubicBezTo>
                  <a:cubicBezTo>
                    <a:pt x="6083" y="3420"/>
                    <a:pt x="6106" y="3426"/>
                    <a:pt x="6123" y="3437"/>
                  </a:cubicBezTo>
                  <a:cubicBezTo>
                    <a:pt x="6146" y="3455"/>
                    <a:pt x="6146" y="3455"/>
                    <a:pt x="6146" y="3455"/>
                  </a:cubicBezTo>
                  <a:lnTo>
                    <a:pt x="6146" y="3455"/>
                  </a:lnTo>
                  <a:cubicBezTo>
                    <a:pt x="6140" y="3477"/>
                    <a:pt x="6146" y="3494"/>
                    <a:pt x="6140" y="3517"/>
                  </a:cubicBezTo>
                  <a:cubicBezTo>
                    <a:pt x="6135" y="3528"/>
                    <a:pt x="6123" y="3545"/>
                    <a:pt x="6135" y="3562"/>
                  </a:cubicBezTo>
                  <a:cubicBezTo>
                    <a:pt x="6135" y="3568"/>
                    <a:pt x="6140" y="3597"/>
                    <a:pt x="6129" y="3597"/>
                  </a:cubicBezTo>
                  <a:cubicBezTo>
                    <a:pt x="6123" y="3597"/>
                    <a:pt x="6100" y="3574"/>
                    <a:pt x="6095" y="3574"/>
                  </a:cubicBezTo>
                  <a:cubicBezTo>
                    <a:pt x="6083" y="3557"/>
                    <a:pt x="6072" y="3540"/>
                    <a:pt x="6055" y="3528"/>
                  </a:cubicBezTo>
                  <a:cubicBezTo>
                    <a:pt x="6021" y="3506"/>
                    <a:pt x="6021" y="3557"/>
                    <a:pt x="5992" y="3562"/>
                  </a:cubicBezTo>
                  <a:cubicBezTo>
                    <a:pt x="5970" y="3579"/>
                    <a:pt x="5953" y="3557"/>
                    <a:pt x="5930" y="3557"/>
                  </a:cubicBezTo>
                  <a:cubicBezTo>
                    <a:pt x="5919" y="3557"/>
                    <a:pt x="5901" y="3585"/>
                    <a:pt x="5890" y="3597"/>
                  </a:cubicBezTo>
                  <a:cubicBezTo>
                    <a:pt x="5850" y="3625"/>
                    <a:pt x="5799" y="3602"/>
                    <a:pt x="5765" y="3585"/>
                  </a:cubicBezTo>
                  <a:cubicBezTo>
                    <a:pt x="5731" y="3568"/>
                    <a:pt x="5720" y="3625"/>
                    <a:pt x="5691" y="3619"/>
                  </a:cubicBezTo>
                  <a:cubicBezTo>
                    <a:pt x="5669" y="3613"/>
                    <a:pt x="5623" y="3574"/>
                    <a:pt x="5617" y="3551"/>
                  </a:cubicBezTo>
                  <a:cubicBezTo>
                    <a:pt x="5612" y="3540"/>
                    <a:pt x="5612" y="3517"/>
                    <a:pt x="5606" y="3511"/>
                  </a:cubicBezTo>
                  <a:cubicBezTo>
                    <a:pt x="5589" y="3494"/>
                    <a:pt x="5572" y="3506"/>
                    <a:pt x="5572" y="3477"/>
                  </a:cubicBezTo>
                  <a:cubicBezTo>
                    <a:pt x="5572" y="3392"/>
                    <a:pt x="5464" y="3534"/>
                    <a:pt x="5492" y="3432"/>
                  </a:cubicBezTo>
                  <a:cubicBezTo>
                    <a:pt x="5504" y="3375"/>
                    <a:pt x="5453" y="3426"/>
                    <a:pt x="5458" y="3398"/>
                  </a:cubicBezTo>
                  <a:cubicBezTo>
                    <a:pt x="5458" y="3386"/>
                    <a:pt x="5475" y="3375"/>
                    <a:pt x="5481" y="3375"/>
                  </a:cubicBezTo>
                  <a:cubicBezTo>
                    <a:pt x="5527" y="3347"/>
                    <a:pt x="5436" y="3335"/>
                    <a:pt x="5424" y="3329"/>
                  </a:cubicBezTo>
                  <a:cubicBezTo>
                    <a:pt x="5401" y="3312"/>
                    <a:pt x="5385" y="3324"/>
                    <a:pt x="5362" y="3312"/>
                  </a:cubicBezTo>
                  <a:cubicBezTo>
                    <a:pt x="5350" y="3301"/>
                    <a:pt x="5333" y="3267"/>
                    <a:pt x="5328" y="3261"/>
                  </a:cubicBezTo>
                  <a:cubicBezTo>
                    <a:pt x="5271" y="3239"/>
                    <a:pt x="5254" y="3324"/>
                    <a:pt x="5203" y="3290"/>
                  </a:cubicBezTo>
                  <a:cubicBezTo>
                    <a:pt x="5174" y="3267"/>
                    <a:pt x="5140" y="3250"/>
                    <a:pt x="5140" y="3210"/>
                  </a:cubicBezTo>
                  <a:cubicBezTo>
                    <a:pt x="5140" y="3153"/>
                    <a:pt x="5083" y="3187"/>
                    <a:pt x="5055" y="3210"/>
                  </a:cubicBezTo>
                  <a:cubicBezTo>
                    <a:pt x="5009" y="3244"/>
                    <a:pt x="4913" y="3267"/>
                    <a:pt x="4856" y="3250"/>
                  </a:cubicBezTo>
                  <a:cubicBezTo>
                    <a:pt x="4799" y="3244"/>
                    <a:pt x="4708" y="3165"/>
                    <a:pt x="4680" y="3261"/>
                  </a:cubicBezTo>
                  <a:cubicBezTo>
                    <a:pt x="4669" y="3290"/>
                    <a:pt x="4663" y="3250"/>
                    <a:pt x="4663" y="3244"/>
                  </a:cubicBezTo>
                  <a:cubicBezTo>
                    <a:pt x="4663" y="3210"/>
                    <a:pt x="4629" y="3239"/>
                    <a:pt x="4629" y="3244"/>
                  </a:cubicBezTo>
                  <a:cubicBezTo>
                    <a:pt x="4629" y="3250"/>
                    <a:pt x="4640" y="3267"/>
                    <a:pt x="4635" y="3267"/>
                  </a:cubicBezTo>
                  <a:cubicBezTo>
                    <a:pt x="4635" y="3273"/>
                    <a:pt x="4635" y="3273"/>
                    <a:pt x="4635" y="3273"/>
                  </a:cubicBezTo>
                  <a:cubicBezTo>
                    <a:pt x="4595" y="3284"/>
                    <a:pt x="4572" y="3295"/>
                    <a:pt x="4527" y="3284"/>
                  </a:cubicBezTo>
                  <a:cubicBezTo>
                    <a:pt x="4476" y="3273"/>
                    <a:pt x="4492" y="3295"/>
                    <a:pt x="4492" y="3335"/>
                  </a:cubicBezTo>
                  <a:cubicBezTo>
                    <a:pt x="4492" y="3364"/>
                    <a:pt x="4464" y="3352"/>
                    <a:pt x="4447" y="3358"/>
                  </a:cubicBezTo>
                  <a:cubicBezTo>
                    <a:pt x="4413" y="3358"/>
                    <a:pt x="4413" y="3420"/>
                    <a:pt x="4368" y="3426"/>
                  </a:cubicBezTo>
                  <a:cubicBezTo>
                    <a:pt x="4322" y="3443"/>
                    <a:pt x="4322" y="3443"/>
                    <a:pt x="4322" y="3443"/>
                  </a:cubicBezTo>
                  <a:lnTo>
                    <a:pt x="4322" y="3443"/>
                  </a:lnTo>
                  <a:cubicBezTo>
                    <a:pt x="4316" y="3443"/>
                    <a:pt x="4305" y="3437"/>
                    <a:pt x="4299" y="3437"/>
                  </a:cubicBezTo>
                  <a:cubicBezTo>
                    <a:pt x="4294" y="3437"/>
                    <a:pt x="4288" y="3443"/>
                    <a:pt x="4282" y="3443"/>
                  </a:cubicBezTo>
                  <a:cubicBezTo>
                    <a:pt x="4271" y="3443"/>
                    <a:pt x="4254" y="3455"/>
                    <a:pt x="4248" y="3460"/>
                  </a:cubicBezTo>
                  <a:cubicBezTo>
                    <a:pt x="4242" y="3471"/>
                    <a:pt x="4237" y="3477"/>
                    <a:pt x="4226" y="3483"/>
                  </a:cubicBezTo>
                  <a:cubicBezTo>
                    <a:pt x="4169" y="3557"/>
                    <a:pt x="4169" y="3557"/>
                    <a:pt x="4169" y="3557"/>
                  </a:cubicBezTo>
                  <a:cubicBezTo>
                    <a:pt x="4147" y="3579"/>
                    <a:pt x="4124" y="3579"/>
                    <a:pt x="4101" y="3602"/>
                  </a:cubicBezTo>
                  <a:cubicBezTo>
                    <a:pt x="4067" y="3636"/>
                    <a:pt x="4045" y="3716"/>
                    <a:pt x="3988" y="3727"/>
                  </a:cubicBezTo>
                  <a:cubicBezTo>
                    <a:pt x="3948" y="3739"/>
                    <a:pt x="3920" y="3739"/>
                    <a:pt x="3891" y="3767"/>
                  </a:cubicBezTo>
                  <a:cubicBezTo>
                    <a:pt x="3863" y="3795"/>
                    <a:pt x="3834" y="3847"/>
                    <a:pt x="3823" y="3892"/>
                  </a:cubicBezTo>
                  <a:cubicBezTo>
                    <a:pt x="3823" y="3915"/>
                    <a:pt x="3829" y="3932"/>
                    <a:pt x="3812" y="3949"/>
                  </a:cubicBezTo>
                  <a:cubicBezTo>
                    <a:pt x="3800" y="3971"/>
                    <a:pt x="3812" y="3977"/>
                    <a:pt x="3806" y="4000"/>
                  </a:cubicBezTo>
                  <a:cubicBezTo>
                    <a:pt x="3800" y="4011"/>
                    <a:pt x="3783" y="4011"/>
                    <a:pt x="3783" y="4022"/>
                  </a:cubicBezTo>
                  <a:cubicBezTo>
                    <a:pt x="3772" y="4074"/>
                    <a:pt x="3715" y="4051"/>
                    <a:pt x="3675" y="4051"/>
                  </a:cubicBezTo>
                  <a:cubicBezTo>
                    <a:pt x="3670" y="4051"/>
                    <a:pt x="3630" y="4119"/>
                    <a:pt x="3619" y="4130"/>
                  </a:cubicBezTo>
                  <a:cubicBezTo>
                    <a:pt x="3590" y="4170"/>
                    <a:pt x="3573" y="4216"/>
                    <a:pt x="3550" y="4256"/>
                  </a:cubicBezTo>
                  <a:cubicBezTo>
                    <a:pt x="3550" y="4273"/>
                    <a:pt x="3545" y="4295"/>
                    <a:pt x="3556" y="4312"/>
                  </a:cubicBezTo>
                  <a:cubicBezTo>
                    <a:pt x="3567" y="4329"/>
                    <a:pt x="3545" y="4335"/>
                    <a:pt x="3533" y="4335"/>
                  </a:cubicBezTo>
                  <a:cubicBezTo>
                    <a:pt x="3516" y="4341"/>
                    <a:pt x="3454" y="4363"/>
                    <a:pt x="3442" y="4341"/>
                  </a:cubicBezTo>
                  <a:cubicBezTo>
                    <a:pt x="3437" y="4335"/>
                    <a:pt x="3420" y="4295"/>
                    <a:pt x="3414" y="4301"/>
                  </a:cubicBezTo>
                  <a:cubicBezTo>
                    <a:pt x="3397" y="4324"/>
                    <a:pt x="3420" y="4346"/>
                    <a:pt x="3420" y="4363"/>
                  </a:cubicBezTo>
                  <a:cubicBezTo>
                    <a:pt x="3414" y="4386"/>
                    <a:pt x="3408" y="4437"/>
                    <a:pt x="3380" y="4443"/>
                  </a:cubicBezTo>
                  <a:cubicBezTo>
                    <a:pt x="3369" y="4449"/>
                    <a:pt x="3357" y="4454"/>
                    <a:pt x="3357" y="4460"/>
                  </a:cubicBezTo>
                  <a:cubicBezTo>
                    <a:pt x="3357" y="4477"/>
                    <a:pt x="3369" y="4494"/>
                    <a:pt x="3363" y="4506"/>
                  </a:cubicBezTo>
                  <a:cubicBezTo>
                    <a:pt x="3363" y="4534"/>
                    <a:pt x="3363" y="4551"/>
                    <a:pt x="3369" y="4574"/>
                  </a:cubicBezTo>
                  <a:cubicBezTo>
                    <a:pt x="3363" y="4585"/>
                    <a:pt x="3346" y="4602"/>
                    <a:pt x="3346" y="4614"/>
                  </a:cubicBezTo>
                  <a:cubicBezTo>
                    <a:pt x="3346" y="4625"/>
                    <a:pt x="3357" y="4630"/>
                    <a:pt x="3363" y="4642"/>
                  </a:cubicBezTo>
                  <a:cubicBezTo>
                    <a:pt x="3363" y="4670"/>
                    <a:pt x="3329" y="4653"/>
                    <a:pt x="3312" y="4659"/>
                  </a:cubicBezTo>
                  <a:cubicBezTo>
                    <a:pt x="3295" y="4665"/>
                    <a:pt x="3272" y="4659"/>
                    <a:pt x="3255" y="4665"/>
                  </a:cubicBezTo>
                  <a:cubicBezTo>
                    <a:pt x="3215" y="4687"/>
                    <a:pt x="3232" y="4699"/>
                    <a:pt x="3227" y="4738"/>
                  </a:cubicBezTo>
                  <a:cubicBezTo>
                    <a:pt x="3221" y="4767"/>
                    <a:pt x="3221" y="4761"/>
                    <a:pt x="3198" y="4778"/>
                  </a:cubicBezTo>
                  <a:cubicBezTo>
                    <a:pt x="3192" y="4784"/>
                    <a:pt x="3198" y="4795"/>
                    <a:pt x="3198" y="4807"/>
                  </a:cubicBezTo>
                  <a:cubicBezTo>
                    <a:pt x="3198" y="4807"/>
                    <a:pt x="3153" y="4812"/>
                    <a:pt x="3147" y="4812"/>
                  </a:cubicBezTo>
                  <a:cubicBezTo>
                    <a:pt x="3119" y="4812"/>
                    <a:pt x="3124" y="4784"/>
                    <a:pt x="3113" y="4767"/>
                  </a:cubicBezTo>
                  <a:cubicBezTo>
                    <a:pt x="3113" y="4761"/>
                    <a:pt x="3096" y="4761"/>
                    <a:pt x="3090" y="4767"/>
                  </a:cubicBezTo>
                  <a:cubicBezTo>
                    <a:pt x="3084" y="4784"/>
                    <a:pt x="3119" y="4846"/>
                    <a:pt x="3096" y="4858"/>
                  </a:cubicBezTo>
                  <a:cubicBezTo>
                    <a:pt x="3050" y="4892"/>
                    <a:pt x="3090" y="4949"/>
                    <a:pt x="3056" y="4977"/>
                  </a:cubicBezTo>
                  <a:lnTo>
                    <a:pt x="3056" y="4977"/>
                  </a:lnTo>
                  <a:cubicBezTo>
                    <a:pt x="3016" y="4977"/>
                    <a:pt x="2994" y="5011"/>
                    <a:pt x="2960" y="5005"/>
                  </a:cubicBezTo>
                  <a:cubicBezTo>
                    <a:pt x="2920" y="5005"/>
                    <a:pt x="2914" y="4954"/>
                    <a:pt x="2908" y="4932"/>
                  </a:cubicBezTo>
                  <a:cubicBezTo>
                    <a:pt x="2903" y="4915"/>
                    <a:pt x="2880" y="4897"/>
                    <a:pt x="2897" y="4880"/>
                  </a:cubicBezTo>
                  <a:cubicBezTo>
                    <a:pt x="2903" y="4863"/>
                    <a:pt x="2829" y="4892"/>
                    <a:pt x="2823" y="4892"/>
                  </a:cubicBezTo>
                  <a:cubicBezTo>
                    <a:pt x="2812" y="4892"/>
                    <a:pt x="2783" y="4875"/>
                    <a:pt x="2778" y="4875"/>
                  </a:cubicBezTo>
                  <a:cubicBezTo>
                    <a:pt x="2766" y="4880"/>
                    <a:pt x="2766" y="4926"/>
                    <a:pt x="2761" y="4937"/>
                  </a:cubicBezTo>
                  <a:cubicBezTo>
                    <a:pt x="2761" y="4954"/>
                    <a:pt x="2738" y="5005"/>
                    <a:pt x="2715" y="4988"/>
                  </a:cubicBezTo>
                  <a:cubicBezTo>
                    <a:pt x="2698" y="5000"/>
                    <a:pt x="2653" y="5023"/>
                    <a:pt x="2641" y="5039"/>
                  </a:cubicBezTo>
                  <a:cubicBezTo>
                    <a:pt x="2624" y="5062"/>
                    <a:pt x="2664" y="5091"/>
                    <a:pt x="2624" y="5102"/>
                  </a:cubicBezTo>
                  <a:cubicBezTo>
                    <a:pt x="2584" y="5113"/>
                    <a:pt x="2516" y="5176"/>
                    <a:pt x="2516" y="5102"/>
                  </a:cubicBezTo>
                  <a:cubicBezTo>
                    <a:pt x="2516" y="5051"/>
                    <a:pt x="2494" y="5062"/>
                    <a:pt x="2460" y="5079"/>
                  </a:cubicBezTo>
                  <a:cubicBezTo>
                    <a:pt x="2414" y="5102"/>
                    <a:pt x="2391" y="5176"/>
                    <a:pt x="2329" y="5182"/>
                  </a:cubicBezTo>
                  <a:cubicBezTo>
                    <a:pt x="2300" y="5182"/>
                    <a:pt x="2261" y="5193"/>
                    <a:pt x="2266" y="5147"/>
                  </a:cubicBezTo>
                  <a:cubicBezTo>
                    <a:pt x="2124" y="5136"/>
                    <a:pt x="2124" y="5136"/>
                    <a:pt x="2124" y="5136"/>
                  </a:cubicBezTo>
                  <a:lnTo>
                    <a:pt x="2124" y="5136"/>
                  </a:lnTo>
                  <a:cubicBezTo>
                    <a:pt x="2119" y="5113"/>
                    <a:pt x="2107" y="5102"/>
                    <a:pt x="2096" y="5085"/>
                  </a:cubicBezTo>
                  <a:cubicBezTo>
                    <a:pt x="2079" y="5057"/>
                    <a:pt x="2084" y="5045"/>
                    <a:pt x="2090" y="5017"/>
                  </a:cubicBezTo>
                  <a:cubicBezTo>
                    <a:pt x="2090" y="5000"/>
                    <a:pt x="2084" y="4983"/>
                    <a:pt x="2084" y="4966"/>
                  </a:cubicBezTo>
                  <a:cubicBezTo>
                    <a:pt x="2084" y="4943"/>
                    <a:pt x="2102" y="4926"/>
                    <a:pt x="2113" y="4903"/>
                  </a:cubicBezTo>
                  <a:cubicBezTo>
                    <a:pt x="2124" y="4880"/>
                    <a:pt x="2056" y="4915"/>
                    <a:pt x="2050" y="4915"/>
                  </a:cubicBezTo>
                  <a:cubicBezTo>
                    <a:pt x="2039" y="4915"/>
                    <a:pt x="2022" y="4915"/>
                    <a:pt x="2016" y="4920"/>
                  </a:cubicBezTo>
                  <a:cubicBezTo>
                    <a:pt x="1999" y="4932"/>
                    <a:pt x="1988" y="4949"/>
                    <a:pt x="1977" y="4966"/>
                  </a:cubicBezTo>
                  <a:cubicBezTo>
                    <a:pt x="1965" y="4983"/>
                    <a:pt x="1937" y="4994"/>
                    <a:pt x="1914" y="4994"/>
                  </a:cubicBezTo>
                  <a:cubicBezTo>
                    <a:pt x="1863" y="5017"/>
                    <a:pt x="1840" y="4988"/>
                    <a:pt x="1800" y="4971"/>
                  </a:cubicBezTo>
                  <a:cubicBezTo>
                    <a:pt x="1772" y="4954"/>
                    <a:pt x="1778" y="4915"/>
                    <a:pt x="1744" y="4915"/>
                  </a:cubicBezTo>
                  <a:cubicBezTo>
                    <a:pt x="1721" y="4915"/>
                    <a:pt x="1715" y="4897"/>
                    <a:pt x="1704" y="4880"/>
                  </a:cubicBezTo>
                  <a:cubicBezTo>
                    <a:pt x="1687" y="4863"/>
                    <a:pt x="1653" y="4846"/>
                    <a:pt x="1630" y="4858"/>
                  </a:cubicBezTo>
                  <a:cubicBezTo>
                    <a:pt x="1585" y="4875"/>
                    <a:pt x="1551" y="4863"/>
                    <a:pt x="1562" y="4818"/>
                  </a:cubicBezTo>
                  <a:cubicBezTo>
                    <a:pt x="1568" y="4795"/>
                    <a:pt x="1556" y="4772"/>
                    <a:pt x="1556" y="4750"/>
                  </a:cubicBezTo>
                  <a:lnTo>
                    <a:pt x="1556" y="4750"/>
                  </a:lnTo>
                  <a:cubicBezTo>
                    <a:pt x="1528" y="4755"/>
                    <a:pt x="1516" y="4789"/>
                    <a:pt x="1494" y="4795"/>
                  </a:cubicBezTo>
                  <a:cubicBezTo>
                    <a:pt x="1460" y="4801"/>
                    <a:pt x="1448" y="4801"/>
                    <a:pt x="1431" y="4835"/>
                  </a:cubicBezTo>
                  <a:cubicBezTo>
                    <a:pt x="1374" y="4915"/>
                    <a:pt x="1380" y="4841"/>
                    <a:pt x="1312" y="4829"/>
                  </a:cubicBezTo>
                  <a:cubicBezTo>
                    <a:pt x="1283" y="4824"/>
                    <a:pt x="1289" y="4789"/>
                    <a:pt x="1278" y="4772"/>
                  </a:cubicBezTo>
                  <a:cubicBezTo>
                    <a:pt x="1272" y="4772"/>
                    <a:pt x="1210" y="4761"/>
                    <a:pt x="1198" y="4755"/>
                  </a:cubicBezTo>
                  <a:cubicBezTo>
                    <a:pt x="1164" y="4738"/>
                    <a:pt x="1249" y="4676"/>
                    <a:pt x="1170" y="4653"/>
                  </a:cubicBezTo>
                  <a:cubicBezTo>
                    <a:pt x="1119" y="4642"/>
                    <a:pt x="1193" y="4602"/>
                    <a:pt x="1136" y="4608"/>
                  </a:cubicBezTo>
                  <a:cubicBezTo>
                    <a:pt x="1124" y="4614"/>
                    <a:pt x="1113" y="4614"/>
                    <a:pt x="1107" y="4602"/>
                  </a:cubicBezTo>
                  <a:cubicBezTo>
                    <a:pt x="1073" y="4562"/>
                    <a:pt x="1073" y="4562"/>
                    <a:pt x="1073" y="4562"/>
                  </a:cubicBezTo>
                  <a:cubicBezTo>
                    <a:pt x="1033" y="4511"/>
                    <a:pt x="960" y="4591"/>
                    <a:pt x="909" y="4608"/>
                  </a:cubicBezTo>
                  <a:cubicBezTo>
                    <a:pt x="880" y="4614"/>
                    <a:pt x="857" y="4676"/>
                    <a:pt x="846" y="4676"/>
                  </a:cubicBezTo>
                  <a:cubicBezTo>
                    <a:pt x="823" y="4682"/>
                    <a:pt x="818" y="4682"/>
                    <a:pt x="795" y="4687"/>
                  </a:cubicBezTo>
                  <a:cubicBezTo>
                    <a:pt x="778" y="4716"/>
                    <a:pt x="766" y="4727"/>
                    <a:pt x="738" y="4727"/>
                  </a:cubicBezTo>
                  <a:cubicBezTo>
                    <a:pt x="710" y="4727"/>
                    <a:pt x="698" y="4744"/>
                    <a:pt x="675" y="4755"/>
                  </a:cubicBezTo>
                  <a:cubicBezTo>
                    <a:pt x="636" y="4767"/>
                    <a:pt x="630" y="4818"/>
                    <a:pt x="630" y="4852"/>
                  </a:cubicBezTo>
                  <a:cubicBezTo>
                    <a:pt x="630" y="4869"/>
                    <a:pt x="579" y="4886"/>
                    <a:pt x="562" y="4892"/>
                  </a:cubicBezTo>
                  <a:cubicBezTo>
                    <a:pt x="545" y="4897"/>
                    <a:pt x="528" y="4886"/>
                    <a:pt x="511" y="4892"/>
                  </a:cubicBezTo>
                  <a:cubicBezTo>
                    <a:pt x="465" y="4909"/>
                    <a:pt x="454" y="4949"/>
                    <a:pt x="437" y="4886"/>
                  </a:cubicBezTo>
                  <a:cubicBezTo>
                    <a:pt x="414" y="4880"/>
                    <a:pt x="391" y="4926"/>
                    <a:pt x="357" y="4926"/>
                  </a:cubicBezTo>
                  <a:cubicBezTo>
                    <a:pt x="318" y="4926"/>
                    <a:pt x="318" y="4926"/>
                    <a:pt x="283" y="4909"/>
                  </a:cubicBezTo>
                  <a:cubicBezTo>
                    <a:pt x="238" y="4892"/>
                    <a:pt x="238" y="4892"/>
                    <a:pt x="238" y="4892"/>
                  </a:cubicBezTo>
                  <a:lnTo>
                    <a:pt x="238" y="4892"/>
                  </a:lnTo>
                  <a:cubicBezTo>
                    <a:pt x="244" y="4880"/>
                    <a:pt x="255" y="4841"/>
                    <a:pt x="266" y="4829"/>
                  </a:cubicBezTo>
                  <a:cubicBezTo>
                    <a:pt x="278" y="4807"/>
                    <a:pt x="312" y="4807"/>
                    <a:pt x="335" y="4784"/>
                  </a:cubicBezTo>
                  <a:cubicBezTo>
                    <a:pt x="346" y="4778"/>
                    <a:pt x="329" y="4755"/>
                    <a:pt x="335" y="4744"/>
                  </a:cubicBezTo>
                  <a:cubicBezTo>
                    <a:pt x="357" y="4710"/>
                    <a:pt x="323" y="4716"/>
                    <a:pt x="318" y="4699"/>
                  </a:cubicBezTo>
                  <a:cubicBezTo>
                    <a:pt x="301" y="4693"/>
                    <a:pt x="272" y="4642"/>
                    <a:pt x="266" y="4625"/>
                  </a:cubicBezTo>
                  <a:cubicBezTo>
                    <a:pt x="261" y="4579"/>
                    <a:pt x="283" y="4562"/>
                    <a:pt x="306" y="4528"/>
                  </a:cubicBezTo>
                  <a:cubicBezTo>
                    <a:pt x="312" y="4506"/>
                    <a:pt x="352" y="4488"/>
                    <a:pt x="329" y="4466"/>
                  </a:cubicBezTo>
                  <a:cubicBezTo>
                    <a:pt x="312" y="4449"/>
                    <a:pt x="329" y="4426"/>
                    <a:pt x="301" y="4420"/>
                  </a:cubicBezTo>
                  <a:cubicBezTo>
                    <a:pt x="249" y="4415"/>
                    <a:pt x="306" y="4329"/>
                    <a:pt x="312" y="4312"/>
                  </a:cubicBezTo>
                  <a:cubicBezTo>
                    <a:pt x="329" y="4273"/>
                    <a:pt x="335" y="4221"/>
                    <a:pt x="318" y="4187"/>
                  </a:cubicBezTo>
                  <a:cubicBezTo>
                    <a:pt x="289" y="4130"/>
                    <a:pt x="283" y="4096"/>
                    <a:pt x="301" y="4034"/>
                  </a:cubicBezTo>
                  <a:cubicBezTo>
                    <a:pt x="318" y="4011"/>
                    <a:pt x="295" y="3988"/>
                    <a:pt x="301" y="3971"/>
                  </a:cubicBezTo>
                  <a:cubicBezTo>
                    <a:pt x="306" y="3960"/>
                    <a:pt x="329" y="3960"/>
                    <a:pt x="329" y="3943"/>
                  </a:cubicBezTo>
                  <a:cubicBezTo>
                    <a:pt x="329" y="3898"/>
                    <a:pt x="278" y="3886"/>
                    <a:pt x="266" y="3858"/>
                  </a:cubicBezTo>
                  <a:cubicBezTo>
                    <a:pt x="261" y="3829"/>
                    <a:pt x="266" y="3795"/>
                    <a:pt x="249" y="3778"/>
                  </a:cubicBezTo>
                  <a:cubicBezTo>
                    <a:pt x="238" y="3767"/>
                    <a:pt x="227" y="3767"/>
                    <a:pt x="221" y="3750"/>
                  </a:cubicBezTo>
                  <a:cubicBezTo>
                    <a:pt x="198" y="3721"/>
                    <a:pt x="164" y="3693"/>
                    <a:pt x="170" y="3653"/>
                  </a:cubicBezTo>
                  <a:cubicBezTo>
                    <a:pt x="175" y="3653"/>
                    <a:pt x="181" y="3653"/>
                    <a:pt x="193" y="3653"/>
                  </a:cubicBezTo>
                  <a:cubicBezTo>
                    <a:pt x="227" y="3653"/>
                    <a:pt x="255" y="3670"/>
                    <a:pt x="289" y="3659"/>
                  </a:cubicBezTo>
                  <a:cubicBezTo>
                    <a:pt x="318" y="3648"/>
                    <a:pt x="329" y="3625"/>
                    <a:pt x="340" y="3602"/>
                  </a:cubicBezTo>
                  <a:cubicBezTo>
                    <a:pt x="363" y="3568"/>
                    <a:pt x="380" y="3551"/>
                    <a:pt x="369" y="3506"/>
                  </a:cubicBezTo>
                  <a:cubicBezTo>
                    <a:pt x="357" y="3483"/>
                    <a:pt x="363" y="3477"/>
                    <a:pt x="386" y="3471"/>
                  </a:cubicBezTo>
                  <a:cubicBezTo>
                    <a:pt x="409" y="3460"/>
                    <a:pt x="425" y="3443"/>
                    <a:pt x="443" y="3420"/>
                  </a:cubicBezTo>
                  <a:cubicBezTo>
                    <a:pt x="460" y="3398"/>
                    <a:pt x="448" y="3369"/>
                    <a:pt x="477" y="3347"/>
                  </a:cubicBezTo>
                  <a:cubicBezTo>
                    <a:pt x="494" y="3335"/>
                    <a:pt x="505" y="3301"/>
                    <a:pt x="522" y="3301"/>
                  </a:cubicBezTo>
                  <a:cubicBezTo>
                    <a:pt x="545" y="3301"/>
                    <a:pt x="545" y="3307"/>
                    <a:pt x="573" y="3301"/>
                  </a:cubicBezTo>
                  <a:cubicBezTo>
                    <a:pt x="579" y="3295"/>
                    <a:pt x="596" y="3312"/>
                    <a:pt x="602" y="3312"/>
                  </a:cubicBezTo>
                  <a:cubicBezTo>
                    <a:pt x="636" y="3324"/>
                    <a:pt x="630" y="3256"/>
                    <a:pt x="670" y="3267"/>
                  </a:cubicBezTo>
                  <a:cubicBezTo>
                    <a:pt x="675" y="3267"/>
                    <a:pt x="732" y="3290"/>
                    <a:pt x="715" y="3261"/>
                  </a:cubicBezTo>
                  <a:cubicBezTo>
                    <a:pt x="715" y="3256"/>
                    <a:pt x="704" y="3233"/>
                    <a:pt x="715" y="3227"/>
                  </a:cubicBezTo>
                  <a:cubicBezTo>
                    <a:pt x="721" y="3216"/>
                    <a:pt x="738" y="3221"/>
                    <a:pt x="755" y="3216"/>
                  </a:cubicBezTo>
                  <a:cubicBezTo>
                    <a:pt x="766" y="3216"/>
                    <a:pt x="761" y="3204"/>
                    <a:pt x="772" y="3187"/>
                  </a:cubicBezTo>
                  <a:cubicBezTo>
                    <a:pt x="783" y="3170"/>
                    <a:pt x="789" y="3165"/>
                    <a:pt x="789" y="3148"/>
                  </a:cubicBezTo>
                  <a:cubicBezTo>
                    <a:pt x="789" y="3125"/>
                    <a:pt x="852" y="3153"/>
                    <a:pt x="835" y="3114"/>
                  </a:cubicBezTo>
                  <a:cubicBezTo>
                    <a:pt x="823" y="3091"/>
                    <a:pt x="829" y="3051"/>
                    <a:pt x="857" y="3074"/>
                  </a:cubicBezTo>
                  <a:cubicBezTo>
                    <a:pt x="880" y="3091"/>
                    <a:pt x="874" y="3097"/>
                    <a:pt x="909" y="3085"/>
                  </a:cubicBezTo>
                  <a:cubicBezTo>
                    <a:pt x="943" y="3074"/>
                    <a:pt x="874" y="3045"/>
                    <a:pt x="903" y="3028"/>
                  </a:cubicBezTo>
                  <a:cubicBezTo>
                    <a:pt x="914" y="3028"/>
                    <a:pt x="925" y="3034"/>
                    <a:pt x="937" y="3023"/>
                  </a:cubicBezTo>
                  <a:cubicBezTo>
                    <a:pt x="948" y="3006"/>
                    <a:pt x="937" y="3000"/>
                    <a:pt x="937" y="2983"/>
                  </a:cubicBezTo>
                  <a:cubicBezTo>
                    <a:pt x="943" y="2966"/>
                    <a:pt x="937" y="2966"/>
                    <a:pt x="948" y="2955"/>
                  </a:cubicBezTo>
                  <a:cubicBezTo>
                    <a:pt x="965" y="2949"/>
                    <a:pt x="960" y="2943"/>
                    <a:pt x="965" y="2932"/>
                  </a:cubicBezTo>
                  <a:cubicBezTo>
                    <a:pt x="971" y="2920"/>
                    <a:pt x="994" y="2915"/>
                    <a:pt x="999" y="2892"/>
                  </a:cubicBezTo>
                  <a:cubicBezTo>
                    <a:pt x="1005" y="2875"/>
                    <a:pt x="1016" y="2864"/>
                    <a:pt x="1028" y="2847"/>
                  </a:cubicBezTo>
                  <a:cubicBezTo>
                    <a:pt x="1039" y="2830"/>
                    <a:pt x="1039" y="2818"/>
                    <a:pt x="1045" y="2801"/>
                  </a:cubicBezTo>
                  <a:cubicBezTo>
                    <a:pt x="1051" y="2790"/>
                    <a:pt x="1062" y="2784"/>
                    <a:pt x="1068" y="2778"/>
                  </a:cubicBezTo>
                  <a:cubicBezTo>
                    <a:pt x="1073" y="2767"/>
                    <a:pt x="1073" y="2756"/>
                    <a:pt x="1079" y="2750"/>
                  </a:cubicBezTo>
                  <a:cubicBezTo>
                    <a:pt x="1022" y="2727"/>
                    <a:pt x="982" y="2642"/>
                    <a:pt x="925" y="2619"/>
                  </a:cubicBezTo>
                  <a:cubicBezTo>
                    <a:pt x="903" y="2608"/>
                    <a:pt x="772" y="2597"/>
                    <a:pt x="766" y="2585"/>
                  </a:cubicBezTo>
                  <a:cubicBezTo>
                    <a:pt x="749" y="2591"/>
                    <a:pt x="732" y="2653"/>
                    <a:pt x="698" y="2631"/>
                  </a:cubicBezTo>
                  <a:cubicBezTo>
                    <a:pt x="675" y="2614"/>
                    <a:pt x="653" y="2597"/>
                    <a:pt x="630" y="2580"/>
                  </a:cubicBezTo>
                  <a:cubicBezTo>
                    <a:pt x="613" y="2568"/>
                    <a:pt x="641" y="2557"/>
                    <a:pt x="636" y="2546"/>
                  </a:cubicBezTo>
                  <a:cubicBezTo>
                    <a:pt x="630" y="2517"/>
                    <a:pt x="613" y="2500"/>
                    <a:pt x="619" y="2472"/>
                  </a:cubicBezTo>
                  <a:cubicBezTo>
                    <a:pt x="630" y="2438"/>
                    <a:pt x="647" y="2420"/>
                    <a:pt x="647" y="2375"/>
                  </a:cubicBezTo>
                  <a:cubicBezTo>
                    <a:pt x="653" y="2358"/>
                    <a:pt x="670" y="2296"/>
                    <a:pt x="670" y="2278"/>
                  </a:cubicBezTo>
                  <a:cubicBezTo>
                    <a:pt x="613" y="2267"/>
                    <a:pt x="613" y="2267"/>
                    <a:pt x="613" y="2267"/>
                  </a:cubicBezTo>
                  <a:cubicBezTo>
                    <a:pt x="613" y="2261"/>
                    <a:pt x="613" y="2261"/>
                    <a:pt x="613" y="2261"/>
                  </a:cubicBezTo>
                  <a:cubicBezTo>
                    <a:pt x="607" y="2261"/>
                    <a:pt x="619" y="2233"/>
                    <a:pt x="619" y="2227"/>
                  </a:cubicBezTo>
                  <a:cubicBezTo>
                    <a:pt x="624" y="2210"/>
                    <a:pt x="630" y="2199"/>
                    <a:pt x="630" y="2182"/>
                  </a:cubicBezTo>
                  <a:cubicBezTo>
                    <a:pt x="630" y="2170"/>
                    <a:pt x="607" y="2131"/>
                    <a:pt x="590" y="2131"/>
                  </a:cubicBezTo>
                  <a:cubicBezTo>
                    <a:pt x="573" y="2176"/>
                    <a:pt x="477" y="2182"/>
                    <a:pt x="431" y="2170"/>
                  </a:cubicBezTo>
                  <a:cubicBezTo>
                    <a:pt x="363" y="2153"/>
                    <a:pt x="386" y="2085"/>
                    <a:pt x="318" y="2085"/>
                  </a:cubicBezTo>
                  <a:cubicBezTo>
                    <a:pt x="301" y="2142"/>
                    <a:pt x="312" y="2165"/>
                    <a:pt x="238" y="2165"/>
                  </a:cubicBezTo>
                  <a:cubicBezTo>
                    <a:pt x="198" y="2165"/>
                    <a:pt x="130" y="2159"/>
                    <a:pt x="119" y="2108"/>
                  </a:cubicBezTo>
                  <a:lnTo>
                    <a:pt x="119" y="2108"/>
                  </a:lnTo>
                  <a:lnTo>
                    <a:pt x="119" y="2108"/>
                  </a:lnTo>
                  <a:cubicBezTo>
                    <a:pt x="102" y="2074"/>
                    <a:pt x="102" y="2074"/>
                    <a:pt x="102" y="2074"/>
                  </a:cubicBezTo>
                  <a:cubicBezTo>
                    <a:pt x="119" y="2063"/>
                    <a:pt x="147" y="1989"/>
                    <a:pt x="113" y="1983"/>
                  </a:cubicBezTo>
                  <a:cubicBezTo>
                    <a:pt x="85" y="1983"/>
                    <a:pt x="68" y="1977"/>
                    <a:pt x="51" y="1960"/>
                  </a:cubicBezTo>
                  <a:cubicBezTo>
                    <a:pt x="28" y="1943"/>
                    <a:pt x="73" y="1926"/>
                    <a:pt x="85" y="1915"/>
                  </a:cubicBezTo>
                  <a:cubicBezTo>
                    <a:pt x="96" y="1903"/>
                    <a:pt x="90" y="1881"/>
                    <a:pt x="107" y="1875"/>
                  </a:cubicBezTo>
                  <a:cubicBezTo>
                    <a:pt x="130" y="1858"/>
                    <a:pt x="153" y="1852"/>
                    <a:pt x="153" y="1818"/>
                  </a:cubicBezTo>
                  <a:cubicBezTo>
                    <a:pt x="153" y="1784"/>
                    <a:pt x="170" y="1779"/>
                    <a:pt x="198" y="1761"/>
                  </a:cubicBezTo>
                  <a:cubicBezTo>
                    <a:pt x="221" y="1744"/>
                    <a:pt x="221" y="1688"/>
                    <a:pt x="261" y="1688"/>
                  </a:cubicBezTo>
                  <a:cubicBezTo>
                    <a:pt x="283" y="1688"/>
                    <a:pt x="312" y="1710"/>
                    <a:pt x="340" y="1710"/>
                  </a:cubicBezTo>
                  <a:cubicBezTo>
                    <a:pt x="340" y="1688"/>
                    <a:pt x="318" y="1682"/>
                    <a:pt x="340" y="1653"/>
                  </a:cubicBezTo>
                  <a:cubicBezTo>
                    <a:pt x="369" y="1625"/>
                    <a:pt x="409" y="1591"/>
                    <a:pt x="409" y="1546"/>
                  </a:cubicBezTo>
                  <a:cubicBezTo>
                    <a:pt x="409" y="1517"/>
                    <a:pt x="414" y="1489"/>
                    <a:pt x="391" y="1466"/>
                  </a:cubicBezTo>
                  <a:cubicBezTo>
                    <a:pt x="363" y="1443"/>
                    <a:pt x="312" y="1438"/>
                    <a:pt x="289" y="1409"/>
                  </a:cubicBezTo>
                  <a:cubicBezTo>
                    <a:pt x="272" y="1392"/>
                    <a:pt x="295" y="1387"/>
                    <a:pt x="306" y="1369"/>
                  </a:cubicBezTo>
                  <a:cubicBezTo>
                    <a:pt x="318" y="1352"/>
                    <a:pt x="295" y="1341"/>
                    <a:pt x="312" y="1313"/>
                  </a:cubicBezTo>
                  <a:cubicBezTo>
                    <a:pt x="318" y="1296"/>
                    <a:pt x="312" y="1279"/>
                    <a:pt x="306" y="1262"/>
                  </a:cubicBezTo>
                  <a:cubicBezTo>
                    <a:pt x="295" y="1262"/>
                    <a:pt x="278" y="1262"/>
                    <a:pt x="261" y="1262"/>
                  </a:cubicBezTo>
                  <a:cubicBezTo>
                    <a:pt x="249" y="1262"/>
                    <a:pt x="198" y="1222"/>
                    <a:pt x="187" y="1210"/>
                  </a:cubicBezTo>
                  <a:cubicBezTo>
                    <a:pt x="170" y="1193"/>
                    <a:pt x="147" y="1210"/>
                    <a:pt x="136" y="1228"/>
                  </a:cubicBezTo>
                  <a:cubicBezTo>
                    <a:pt x="102" y="1279"/>
                    <a:pt x="119" y="1233"/>
                    <a:pt x="73" y="1244"/>
                  </a:cubicBezTo>
                  <a:cubicBezTo>
                    <a:pt x="68" y="1244"/>
                    <a:pt x="11" y="1228"/>
                    <a:pt x="0" y="1228"/>
                  </a:cubicBezTo>
                  <a:cubicBezTo>
                    <a:pt x="0" y="1222"/>
                    <a:pt x="0" y="1222"/>
                    <a:pt x="0" y="1222"/>
                  </a:cubicBezTo>
                  <a:cubicBezTo>
                    <a:pt x="16" y="1210"/>
                    <a:pt x="5" y="1148"/>
                    <a:pt x="22" y="1120"/>
                  </a:cubicBezTo>
                  <a:cubicBezTo>
                    <a:pt x="45" y="1091"/>
                    <a:pt x="16" y="1074"/>
                    <a:pt x="22" y="1046"/>
                  </a:cubicBezTo>
                  <a:cubicBezTo>
                    <a:pt x="34" y="994"/>
                    <a:pt x="79" y="1012"/>
                    <a:pt x="39" y="949"/>
                  </a:cubicBezTo>
                  <a:cubicBezTo>
                    <a:pt x="5" y="881"/>
                    <a:pt x="85" y="887"/>
                    <a:pt x="113" y="875"/>
                  </a:cubicBezTo>
                  <a:cubicBezTo>
                    <a:pt x="113" y="864"/>
                    <a:pt x="119" y="847"/>
                    <a:pt x="124" y="835"/>
                  </a:cubicBezTo>
                  <a:cubicBezTo>
                    <a:pt x="136" y="801"/>
                    <a:pt x="136" y="824"/>
                    <a:pt x="147" y="835"/>
                  </a:cubicBezTo>
                  <a:cubicBezTo>
                    <a:pt x="164" y="858"/>
                    <a:pt x="215" y="784"/>
                    <a:pt x="227" y="773"/>
                  </a:cubicBezTo>
                  <a:cubicBezTo>
                    <a:pt x="238" y="756"/>
                    <a:pt x="272" y="722"/>
                    <a:pt x="272" y="705"/>
                  </a:cubicBezTo>
                  <a:cubicBezTo>
                    <a:pt x="272" y="688"/>
                    <a:pt x="215" y="608"/>
                    <a:pt x="261" y="608"/>
                  </a:cubicBezTo>
                  <a:cubicBezTo>
                    <a:pt x="278" y="608"/>
                    <a:pt x="295" y="625"/>
                    <a:pt x="301" y="608"/>
                  </a:cubicBezTo>
                  <a:cubicBezTo>
                    <a:pt x="312" y="597"/>
                    <a:pt x="278" y="585"/>
                    <a:pt x="278" y="568"/>
                  </a:cubicBezTo>
                  <a:cubicBezTo>
                    <a:pt x="289" y="546"/>
                    <a:pt x="289" y="546"/>
                    <a:pt x="289" y="546"/>
                  </a:cubicBezTo>
                  <a:lnTo>
                    <a:pt x="289" y="546"/>
                  </a:lnTo>
                  <a:cubicBezTo>
                    <a:pt x="312" y="546"/>
                    <a:pt x="335" y="557"/>
                    <a:pt x="346" y="580"/>
                  </a:cubicBezTo>
                  <a:cubicBezTo>
                    <a:pt x="357" y="597"/>
                    <a:pt x="357" y="608"/>
                    <a:pt x="374" y="597"/>
                  </a:cubicBezTo>
                  <a:cubicBezTo>
                    <a:pt x="403" y="574"/>
                    <a:pt x="425" y="551"/>
                    <a:pt x="460" y="546"/>
                  </a:cubicBezTo>
                  <a:cubicBezTo>
                    <a:pt x="477" y="540"/>
                    <a:pt x="494" y="540"/>
                    <a:pt x="516" y="540"/>
                  </a:cubicBezTo>
                  <a:cubicBezTo>
                    <a:pt x="533" y="540"/>
                    <a:pt x="556" y="546"/>
                    <a:pt x="573" y="546"/>
                  </a:cubicBezTo>
                  <a:cubicBezTo>
                    <a:pt x="596" y="546"/>
                    <a:pt x="613" y="557"/>
                    <a:pt x="636" y="551"/>
                  </a:cubicBezTo>
                  <a:cubicBezTo>
                    <a:pt x="664" y="546"/>
                    <a:pt x="727" y="529"/>
                    <a:pt x="749" y="517"/>
                  </a:cubicBezTo>
                  <a:cubicBezTo>
                    <a:pt x="789" y="489"/>
                    <a:pt x="818" y="415"/>
                    <a:pt x="840" y="370"/>
                  </a:cubicBezTo>
                  <a:cubicBezTo>
                    <a:pt x="846" y="353"/>
                    <a:pt x="880" y="319"/>
                    <a:pt x="897" y="341"/>
                  </a:cubicBezTo>
                  <a:cubicBezTo>
                    <a:pt x="920" y="358"/>
                    <a:pt x="965" y="364"/>
                    <a:pt x="999" y="387"/>
                  </a:cubicBezTo>
                  <a:cubicBezTo>
                    <a:pt x="1045" y="409"/>
                    <a:pt x="1068" y="267"/>
                    <a:pt x="1107" y="353"/>
                  </a:cubicBezTo>
                  <a:cubicBezTo>
                    <a:pt x="1119" y="375"/>
                    <a:pt x="1153" y="370"/>
                    <a:pt x="1175" y="358"/>
                  </a:cubicBezTo>
                  <a:cubicBezTo>
                    <a:pt x="1204" y="353"/>
                    <a:pt x="1170" y="290"/>
                    <a:pt x="1221" y="290"/>
                  </a:cubicBezTo>
                  <a:cubicBezTo>
                    <a:pt x="1249" y="296"/>
                    <a:pt x="1255" y="307"/>
                    <a:pt x="1278" y="313"/>
                  </a:cubicBezTo>
                  <a:cubicBezTo>
                    <a:pt x="1301" y="324"/>
                    <a:pt x="1312" y="301"/>
                    <a:pt x="1335" y="301"/>
                  </a:cubicBezTo>
                  <a:cubicBezTo>
                    <a:pt x="1346" y="347"/>
                    <a:pt x="1374" y="398"/>
                    <a:pt x="1420" y="421"/>
                  </a:cubicBezTo>
                  <a:cubicBezTo>
                    <a:pt x="1454" y="438"/>
                    <a:pt x="1505" y="460"/>
                    <a:pt x="1545" y="466"/>
                  </a:cubicBezTo>
                  <a:cubicBezTo>
                    <a:pt x="1619" y="478"/>
                    <a:pt x="1624" y="324"/>
                    <a:pt x="1698" y="319"/>
                  </a:cubicBezTo>
                  <a:cubicBezTo>
                    <a:pt x="1721" y="319"/>
                    <a:pt x="1749" y="341"/>
                    <a:pt x="1778" y="347"/>
                  </a:cubicBezTo>
                  <a:cubicBezTo>
                    <a:pt x="1818" y="353"/>
                    <a:pt x="1829" y="387"/>
                    <a:pt x="1869" y="375"/>
                  </a:cubicBezTo>
                  <a:cubicBezTo>
                    <a:pt x="1903" y="370"/>
                    <a:pt x="1937" y="387"/>
                    <a:pt x="1937" y="341"/>
                  </a:cubicBezTo>
                  <a:cubicBezTo>
                    <a:pt x="1948" y="262"/>
                    <a:pt x="2056" y="387"/>
                    <a:pt x="2056" y="307"/>
                  </a:cubicBezTo>
                  <a:cubicBezTo>
                    <a:pt x="2062" y="239"/>
                    <a:pt x="2096" y="250"/>
                    <a:pt x="2136" y="273"/>
                  </a:cubicBezTo>
                  <a:cubicBezTo>
                    <a:pt x="2181" y="296"/>
                    <a:pt x="2192" y="256"/>
                    <a:pt x="2221" y="262"/>
                  </a:cubicBezTo>
                  <a:cubicBezTo>
                    <a:pt x="2289" y="279"/>
                    <a:pt x="2300" y="222"/>
                    <a:pt x="2346" y="228"/>
                  </a:cubicBezTo>
                  <a:cubicBezTo>
                    <a:pt x="2363" y="228"/>
                    <a:pt x="2374" y="262"/>
                    <a:pt x="2397" y="245"/>
                  </a:cubicBezTo>
                  <a:cubicBezTo>
                    <a:pt x="2414" y="239"/>
                    <a:pt x="2420" y="182"/>
                    <a:pt x="2431" y="165"/>
                  </a:cubicBezTo>
                  <a:cubicBezTo>
                    <a:pt x="2442" y="148"/>
                    <a:pt x="2437" y="120"/>
                    <a:pt x="2448" y="103"/>
                  </a:cubicBezTo>
                  <a:cubicBezTo>
                    <a:pt x="2477" y="80"/>
                    <a:pt x="2516" y="120"/>
                    <a:pt x="2545" y="91"/>
                  </a:cubicBezTo>
                  <a:cubicBezTo>
                    <a:pt x="2568" y="74"/>
                    <a:pt x="2590" y="57"/>
                    <a:pt x="2607" y="40"/>
                  </a:cubicBezTo>
                  <a:cubicBezTo>
                    <a:pt x="2619" y="29"/>
                    <a:pt x="2636" y="0"/>
                    <a:pt x="2647" y="6"/>
                  </a:cubicBezTo>
                  <a:cubicBezTo>
                    <a:pt x="2653" y="6"/>
                    <a:pt x="2692" y="40"/>
                    <a:pt x="2698" y="46"/>
                  </a:cubicBezTo>
                  <a:cubicBezTo>
                    <a:pt x="2710" y="57"/>
                    <a:pt x="2710" y="91"/>
                    <a:pt x="2721" y="108"/>
                  </a:cubicBezTo>
                  <a:lnTo>
                    <a:pt x="2721" y="108"/>
                  </a:lnTo>
                  <a:cubicBezTo>
                    <a:pt x="2721" y="114"/>
                    <a:pt x="2738" y="148"/>
                    <a:pt x="2732" y="154"/>
                  </a:cubicBezTo>
                  <a:cubicBezTo>
                    <a:pt x="2715" y="171"/>
                    <a:pt x="2704" y="193"/>
                    <a:pt x="2715" y="216"/>
                  </a:cubicBezTo>
                  <a:cubicBezTo>
                    <a:pt x="2721" y="228"/>
                    <a:pt x="2732" y="239"/>
                    <a:pt x="2744" y="245"/>
                  </a:cubicBezTo>
                  <a:cubicBezTo>
                    <a:pt x="2755" y="250"/>
                    <a:pt x="2778" y="256"/>
                    <a:pt x="2789" y="267"/>
                  </a:cubicBezTo>
                  <a:cubicBezTo>
                    <a:pt x="2817" y="296"/>
                    <a:pt x="2812" y="296"/>
                    <a:pt x="2846" y="313"/>
                  </a:cubicBezTo>
                  <a:cubicBezTo>
                    <a:pt x="2863" y="324"/>
                    <a:pt x="2840" y="381"/>
                    <a:pt x="2869" y="381"/>
                  </a:cubicBezTo>
                  <a:cubicBezTo>
                    <a:pt x="2880" y="381"/>
                    <a:pt x="2897" y="375"/>
                    <a:pt x="2908" y="370"/>
                  </a:cubicBezTo>
                  <a:cubicBezTo>
                    <a:pt x="2937" y="364"/>
                    <a:pt x="2948" y="387"/>
                    <a:pt x="2982" y="375"/>
                  </a:cubicBezTo>
                  <a:cubicBezTo>
                    <a:pt x="2999" y="364"/>
                    <a:pt x="3016" y="341"/>
                    <a:pt x="3039" y="358"/>
                  </a:cubicBezTo>
                  <a:cubicBezTo>
                    <a:pt x="3096" y="398"/>
                    <a:pt x="3079" y="330"/>
                    <a:pt x="3119" y="330"/>
                  </a:cubicBezTo>
                  <a:cubicBezTo>
                    <a:pt x="3147" y="330"/>
                    <a:pt x="3147" y="364"/>
                    <a:pt x="3175" y="324"/>
                  </a:cubicBezTo>
                  <a:cubicBezTo>
                    <a:pt x="3198" y="301"/>
                    <a:pt x="3244" y="335"/>
                    <a:pt x="3272" y="353"/>
                  </a:cubicBezTo>
                  <a:cubicBezTo>
                    <a:pt x="3306" y="370"/>
                    <a:pt x="3295" y="449"/>
                    <a:pt x="3346" y="455"/>
                  </a:cubicBezTo>
                  <a:cubicBezTo>
                    <a:pt x="3369" y="449"/>
                    <a:pt x="3408" y="460"/>
                    <a:pt x="3431" y="466"/>
                  </a:cubicBezTo>
                  <a:cubicBezTo>
                    <a:pt x="3465" y="472"/>
                    <a:pt x="3471" y="534"/>
                    <a:pt x="3477" y="563"/>
                  </a:cubicBezTo>
                  <a:cubicBezTo>
                    <a:pt x="3482" y="591"/>
                    <a:pt x="3477" y="637"/>
                    <a:pt x="3493" y="665"/>
                  </a:cubicBezTo>
                  <a:cubicBezTo>
                    <a:pt x="3505" y="676"/>
                    <a:pt x="3505" y="682"/>
                    <a:pt x="3516" y="682"/>
                  </a:cubicBezTo>
                  <a:cubicBezTo>
                    <a:pt x="3539" y="682"/>
                    <a:pt x="3545" y="739"/>
                    <a:pt x="3573" y="756"/>
                  </a:cubicBezTo>
                  <a:cubicBezTo>
                    <a:pt x="3619" y="790"/>
                    <a:pt x="3619" y="705"/>
                    <a:pt x="3641" y="773"/>
                  </a:cubicBezTo>
                  <a:cubicBezTo>
                    <a:pt x="3658" y="813"/>
                    <a:pt x="3675" y="801"/>
                    <a:pt x="3698" y="767"/>
                  </a:cubicBezTo>
                  <a:cubicBezTo>
                    <a:pt x="3704" y="750"/>
                    <a:pt x="3715" y="750"/>
                    <a:pt x="3727" y="739"/>
                  </a:cubicBezTo>
                  <a:cubicBezTo>
                    <a:pt x="3727" y="733"/>
                    <a:pt x="3743" y="654"/>
                    <a:pt x="3755" y="705"/>
                  </a:cubicBezTo>
                  <a:cubicBezTo>
                    <a:pt x="3766" y="756"/>
                    <a:pt x="3766" y="830"/>
                    <a:pt x="3829" y="790"/>
                  </a:cubicBezTo>
                  <a:cubicBezTo>
                    <a:pt x="3851" y="779"/>
                    <a:pt x="3863" y="767"/>
                    <a:pt x="3874" y="744"/>
                  </a:cubicBezTo>
                  <a:cubicBezTo>
                    <a:pt x="3885" y="733"/>
                    <a:pt x="3931" y="784"/>
                    <a:pt x="3965" y="744"/>
                  </a:cubicBezTo>
                  <a:cubicBezTo>
                    <a:pt x="3988" y="722"/>
                    <a:pt x="3959" y="699"/>
                    <a:pt x="3965" y="676"/>
                  </a:cubicBezTo>
                  <a:cubicBezTo>
                    <a:pt x="3971" y="665"/>
                    <a:pt x="3982" y="642"/>
                    <a:pt x="3971" y="625"/>
                  </a:cubicBezTo>
                  <a:cubicBezTo>
                    <a:pt x="3959" y="620"/>
                    <a:pt x="3954" y="602"/>
                    <a:pt x="3942" y="602"/>
                  </a:cubicBezTo>
                  <a:cubicBezTo>
                    <a:pt x="3925" y="602"/>
                    <a:pt x="3948" y="648"/>
                    <a:pt x="3903" y="648"/>
                  </a:cubicBezTo>
                  <a:cubicBezTo>
                    <a:pt x="3885" y="648"/>
                    <a:pt x="3880" y="602"/>
                    <a:pt x="3885" y="602"/>
                  </a:cubicBezTo>
                  <a:cubicBezTo>
                    <a:pt x="3863" y="602"/>
                    <a:pt x="3846" y="585"/>
                    <a:pt x="3863" y="568"/>
                  </a:cubicBezTo>
                  <a:cubicBezTo>
                    <a:pt x="3880" y="551"/>
                    <a:pt x="3914" y="608"/>
                    <a:pt x="3937" y="557"/>
                  </a:cubicBezTo>
                  <a:cubicBezTo>
                    <a:pt x="3954" y="529"/>
                    <a:pt x="3954" y="540"/>
                    <a:pt x="3942" y="506"/>
                  </a:cubicBezTo>
                  <a:cubicBezTo>
                    <a:pt x="3931" y="466"/>
                    <a:pt x="3880" y="529"/>
                    <a:pt x="3863" y="540"/>
                  </a:cubicBezTo>
                  <a:cubicBezTo>
                    <a:pt x="3812" y="580"/>
                    <a:pt x="3778" y="568"/>
                    <a:pt x="3772" y="506"/>
                  </a:cubicBezTo>
                  <a:cubicBezTo>
                    <a:pt x="3795" y="489"/>
                    <a:pt x="3783" y="432"/>
                    <a:pt x="3817" y="415"/>
                  </a:cubicBezTo>
                  <a:cubicBezTo>
                    <a:pt x="3857" y="392"/>
                    <a:pt x="3891" y="353"/>
                    <a:pt x="3937" y="324"/>
                  </a:cubicBezTo>
                  <a:cubicBezTo>
                    <a:pt x="3971" y="301"/>
                    <a:pt x="3993" y="324"/>
                    <a:pt x="4028" y="284"/>
                  </a:cubicBezTo>
                  <a:cubicBezTo>
                    <a:pt x="4050" y="262"/>
                    <a:pt x="4084" y="245"/>
                    <a:pt x="4107" y="228"/>
                  </a:cubicBezTo>
                  <a:cubicBezTo>
                    <a:pt x="4141" y="199"/>
                    <a:pt x="4152" y="131"/>
                    <a:pt x="4186" y="114"/>
                  </a:cubicBezTo>
                  <a:cubicBezTo>
                    <a:pt x="4191" y="108"/>
                    <a:pt x="4237" y="120"/>
                    <a:pt x="4242" y="125"/>
                  </a:cubicBezTo>
                  <a:cubicBezTo>
                    <a:pt x="4254" y="165"/>
                    <a:pt x="4248" y="154"/>
                    <a:pt x="4288" y="154"/>
                  </a:cubicBezTo>
                  <a:cubicBezTo>
                    <a:pt x="4316" y="154"/>
                    <a:pt x="4345" y="171"/>
                    <a:pt x="4368" y="176"/>
                  </a:cubicBezTo>
                  <a:cubicBezTo>
                    <a:pt x="4402" y="188"/>
                    <a:pt x="4436" y="182"/>
                    <a:pt x="4470" y="182"/>
                  </a:cubicBezTo>
                  <a:lnTo>
                    <a:pt x="4470" y="182"/>
                  </a:lnTo>
                  <a:cubicBezTo>
                    <a:pt x="4532" y="159"/>
                    <a:pt x="4532" y="159"/>
                    <a:pt x="4532" y="159"/>
                  </a:cubicBezTo>
                  <a:cubicBezTo>
                    <a:pt x="4555" y="154"/>
                    <a:pt x="4583" y="125"/>
                    <a:pt x="4606" y="114"/>
                  </a:cubicBezTo>
                  <a:cubicBezTo>
                    <a:pt x="4623" y="108"/>
                    <a:pt x="4629" y="80"/>
                    <a:pt x="4652" y="74"/>
                  </a:cubicBezTo>
                  <a:cubicBezTo>
                    <a:pt x="4669" y="63"/>
                    <a:pt x="4691" y="108"/>
                    <a:pt x="4708" y="120"/>
                  </a:cubicBezTo>
                  <a:cubicBezTo>
                    <a:pt x="4737" y="131"/>
                    <a:pt x="4771" y="120"/>
                    <a:pt x="4799" y="120"/>
                  </a:cubicBezTo>
                  <a:cubicBezTo>
                    <a:pt x="4799" y="120"/>
                    <a:pt x="4799" y="120"/>
                    <a:pt x="4805" y="120"/>
                  </a:cubicBezTo>
                  <a:cubicBezTo>
                    <a:pt x="4805" y="125"/>
                    <a:pt x="4805" y="131"/>
                    <a:pt x="4799" y="131"/>
                  </a:cubicBezTo>
                  <a:cubicBezTo>
                    <a:pt x="4799" y="148"/>
                    <a:pt x="4760" y="182"/>
                    <a:pt x="4760" y="205"/>
                  </a:cubicBezTo>
                  <a:cubicBezTo>
                    <a:pt x="4760" y="233"/>
                    <a:pt x="4805" y="233"/>
                    <a:pt x="4828" y="239"/>
                  </a:cubicBezTo>
                  <a:cubicBezTo>
                    <a:pt x="4828" y="256"/>
                    <a:pt x="4799" y="262"/>
                    <a:pt x="4799" y="284"/>
                  </a:cubicBezTo>
                  <a:cubicBezTo>
                    <a:pt x="4816" y="330"/>
                    <a:pt x="4816" y="353"/>
                    <a:pt x="4771" y="364"/>
                  </a:cubicBezTo>
                  <a:cubicBezTo>
                    <a:pt x="4771" y="387"/>
                    <a:pt x="4833" y="392"/>
                    <a:pt x="4845" y="398"/>
                  </a:cubicBezTo>
                  <a:cubicBezTo>
                    <a:pt x="4868" y="409"/>
                    <a:pt x="4868" y="409"/>
                    <a:pt x="4896" y="398"/>
                  </a:cubicBezTo>
                  <a:cubicBezTo>
                    <a:pt x="4913" y="398"/>
                    <a:pt x="4924" y="438"/>
                    <a:pt x="4930" y="455"/>
                  </a:cubicBezTo>
                  <a:cubicBezTo>
                    <a:pt x="4936" y="466"/>
                    <a:pt x="4947" y="472"/>
                    <a:pt x="4958" y="478"/>
                  </a:cubicBezTo>
                  <a:cubicBezTo>
                    <a:pt x="4964" y="483"/>
                    <a:pt x="4998" y="489"/>
                    <a:pt x="4998" y="494"/>
                  </a:cubicBezTo>
                  <a:cubicBezTo>
                    <a:pt x="5015" y="500"/>
                    <a:pt x="4964" y="546"/>
                    <a:pt x="4958" y="551"/>
                  </a:cubicBezTo>
                  <a:cubicBezTo>
                    <a:pt x="4958" y="563"/>
                    <a:pt x="4873" y="608"/>
                    <a:pt x="4862" y="602"/>
                  </a:cubicBezTo>
                  <a:cubicBezTo>
                    <a:pt x="4845" y="597"/>
                    <a:pt x="4816" y="580"/>
                    <a:pt x="4805" y="568"/>
                  </a:cubicBezTo>
                  <a:cubicBezTo>
                    <a:pt x="4794" y="551"/>
                    <a:pt x="4805" y="529"/>
                    <a:pt x="4799" y="512"/>
                  </a:cubicBezTo>
                  <a:cubicBezTo>
                    <a:pt x="4777" y="506"/>
                    <a:pt x="4748" y="500"/>
                    <a:pt x="4731" y="500"/>
                  </a:cubicBezTo>
                  <a:cubicBezTo>
                    <a:pt x="4703" y="494"/>
                    <a:pt x="4703" y="489"/>
                    <a:pt x="4691" y="517"/>
                  </a:cubicBezTo>
                  <a:cubicBezTo>
                    <a:pt x="4686" y="529"/>
                    <a:pt x="4680" y="546"/>
                    <a:pt x="4663" y="563"/>
                  </a:cubicBezTo>
                  <a:cubicBezTo>
                    <a:pt x="4635" y="591"/>
                    <a:pt x="4629" y="602"/>
                    <a:pt x="4663" y="637"/>
                  </a:cubicBezTo>
                  <a:cubicBezTo>
                    <a:pt x="4680" y="654"/>
                    <a:pt x="4680" y="671"/>
                    <a:pt x="4691" y="693"/>
                  </a:cubicBezTo>
                  <a:cubicBezTo>
                    <a:pt x="4708" y="710"/>
                    <a:pt x="4731" y="688"/>
                    <a:pt x="4742" y="676"/>
                  </a:cubicBezTo>
                  <a:cubicBezTo>
                    <a:pt x="4754" y="665"/>
                    <a:pt x="4765" y="665"/>
                    <a:pt x="4777" y="659"/>
                  </a:cubicBezTo>
                  <a:cubicBezTo>
                    <a:pt x="4788" y="648"/>
                    <a:pt x="4794" y="631"/>
                    <a:pt x="4811" y="631"/>
                  </a:cubicBezTo>
                  <a:cubicBezTo>
                    <a:pt x="4845" y="637"/>
                    <a:pt x="4845" y="637"/>
                    <a:pt x="4845" y="637"/>
                  </a:cubicBezTo>
                  <a:cubicBezTo>
                    <a:pt x="4845" y="642"/>
                    <a:pt x="4845" y="642"/>
                    <a:pt x="4845" y="642"/>
                  </a:cubicBezTo>
                  <a:cubicBezTo>
                    <a:pt x="4828" y="665"/>
                    <a:pt x="4788" y="705"/>
                    <a:pt x="4788" y="733"/>
                  </a:cubicBezTo>
                  <a:cubicBezTo>
                    <a:pt x="4799" y="744"/>
                    <a:pt x="4816" y="739"/>
                    <a:pt x="4822" y="756"/>
                  </a:cubicBezTo>
                  <a:cubicBezTo>
                    <a:pt x="4816" y="796"/>
                    <a:pt x="4816" y="796"/>
                    <a:pt x="4816" y="796"/>
                  </a:cubicBezTo>
                  <a:cubicBezTo>
                    <a:pt x="4862" y="796"/>
                    <a:pt x="4907" y="796"/>
                    <a:pt x="4907" y="801"/>
                  </a:cubicBezTo>
                  <a:cubicBezTo>
                    <a:pt x="4924" y="813"/>
                    <a:pt x="4953" y="852"/>
                    <a:pt x="4992" y="881"/>
                  </a:cubicBezTo>
                  <a:cubicBezTo>
                    <a:pt x="5038" y="904"/>
                    <a:pt x="5089" y="915"/>
                    <a:pt x="5095" y="921"/>
                  </a:cubicBezTo>
                  <a:cubicBezTo>
                    <a:pt x="5100" y="926"/>
                    <a:pt x="5117" y="960"/>
                    <a:pt x="5117" y="960"/>
                  </a:cubicBezTo>
                  <a:cubicBezTo>
                    <a:pt x="5135" y="994"/>
                    <a:pt x="5135" y="994"/>
                    <a:pt x="5135" y="994"/>
                  </a:cubicBezTo>
                  <a:cubicBezTo>
                    <a:pt x="5146" y="1017"/>
                    <a:pt x="5146" y="1017"/>
                    <a:pt x="5146" y="1017"/>
                  </a:cubicBezTo>
                  <a:close/>
                  <a:moveTo>
                    <a:pt x="3437" y="4238"/>
                  </a:moveTo>
                  <a:lnTo>
                    <a:pt x="3437" y="4238"/>
                  </a:lnTo>
                  <a:cubicBezTo>
                    <a:pt x="3431" y="4227"/>
                    <a:pt x="3414" y="4221"/>
                    <a:pt x="3403" y="4233"/>
                  </a:cubicBezTo>
                  <a:cubicBezTo>
                    <a:pt x="3391" y="4238"/>
                    <a:pt x="3386" y="4238"/>
                    <a:pt x="3374" y="4250"/>
                  </a:cubicBezTo>
                  <a:cubicBezTo>
                    <a:pt x="3363" y="4261"/>
                    <a:pt x="3374" y="4284"/>
                    <a:pt x="3391" y="4273"/>
                  </a:cubicBezTo>
                  <a:cubicBezTo>
                    <a:pt x="3403" y="4273"/>
                    <a:pt x="3408" y="4267"/>
                    <a:pt x="3420" y="4273"/>
                  </a:cubicBezTo>
                  <a:cubicBezTo>
                    <a:pt x="3425" y="4273"/>
                    <a:pt x="3431" y="4273"/>
                    <a:pt x="3431" y="4273"/>
                  </a:cubicBezTo>
                  <a:cubicBezTo>
                    <a:pt x="3437" y="4267"/>
                    <a:pt x="3437" y="4256"/>
                    <a:pt x="3437" y="4250"/>
                  </a:cubicBezTo>
                  <a:cubicBezTo>
                    <a:pt x="3437" y="4238"/>
                    <a:pt x="3437" y="4238"/>
                    <a:pt x="3437" y="4238"/>
                  </a:cubicBezTo>
                  <a:close/>
                  <a:moveTo>
                    <a:pt x="5498" y="881"/>
                  </a:moveTo>
                  <a:lnTo>
                    <a:pt x="5498" y="881"/>
                  </a:lnTo>
                  <a:cubicBezTo>
                    <a:pt x="5521" y="864"/>
                    <a:pt x="5515" y="835"/>
                    <a:pt x="5527" y="818"/>
                  </a:cubicBezTo>
                  <a:cubicBezTo>
                    <a:pt x="5515" y="818"/>
                    <a:pt x="5504" y="824"/>
                    <a:pt x="5492" y="818"/>
                  </a:cubicBezTo>
                  <a:cubicBezTo>
                    <a:pt x="5464" y="807"/>
                    <a:pt x="5470" y="790"/>
                    <a:pt x="5430" y="790"/>
                  </a:cubicBezTo>
                  <a:cubicBezTo>
                    <a:pt x="5385" y="790"/>
                    <a:pt x="5328" y="762"/>
                    <a:pt x="5288" y="756"/>
                  </a:cubicBezTo>
                  <a:cubicBezTo>
                    <a:pt x="5254" y="744"/>
                    <a:pt x="5220" y="705"/>
                    <a:pt x="5203" y="750"/>
                  </a:cubicBezTo>
                  <a:cubicBezTo>
                    <a:pt x="5191" y="773"/>
                    <a:pt x="5174" y="807"/>
                    <a:pt x="5157" y="824"/>
                  </a:cubicBezTo>
                  <a:cubicBezTo>
                    <a:pt x="5151" y="835"/>
                    <a:pt x="5208" y="881"/>
                    <a:pt x="5220" y="898"/>
                  </a:cubicBezTo>
                  <a:cubicBezTo>
                    <a:pt x="5242" y="915"/>
                    <a:pt x="5259" y="949"/>
                    <a:pt x="5277" y="955"/>
                  </a:cubicBezTo>
                  <a:cubicBezTo>
                    <a:pt x="5311" y="972"/>
                    <a:pt x="5311" y="972"/>
                    <a:pt x="5345" y="960"/>
                  </a:cubicBezTo>
                  <a:cubicBezTo>
                    <a:pt x="5396" y="943"/>
                    <a:pt x="5396" y="978"/>
                    <a:pt x="5430" y="989"/>
                  </a:cubicBezTo>
                  <a:cubicBezTo>
                    <a:pt x="5458" y="1000"/>
                    <a:pt x="5498" y="978"/>
                    <a:pt x="5521" y="989"/>
                  </a:cubicBezTo>
                  <a:cubicBezTo>
                    <a:pt x="5532" y="994"/>
                    <a:pt x="5566" y="1017"/>
                    <a:pt x="5572" y="994"/>
                  </a:cubicBezTo>
                  <a:cubicBezTo>
                    <a:pt x="5572" y="989"/>
                    <a:pt x="5566" y="938"/>
                    <a:pt x="5561" y="938"/>
                  </a:cubicBezTo>
                  <a:cubicBezTo>
                    <a:pt x="5555" y="932"/>
                    <a:pt x="5544" y="949"/>
                    <a:pt x="5538" y="955"/>
                  </a:cubicBezTo>
                  <a:cubicBezTo>
                    <a:pt x="5492" y="966"/>
                    <a:pt x="5436" y="938"/>
                    <a:pt x="5481" y="892"/>
                  </a:cubicBezTo>
                  <a:cubicBezTo>
                    <a:pt x="5498" y="881"/>
                    <a:pt x="5498" y="881"/>
                    <a:pt x="5498" y="881"/>
                  </a:cubicBezTo>
                  <a:close/>
                  <a:moveTo>
                    <a:pt x="5004" y="1051"/>
                  </a:moveTo>
                  <a:lnTo>
                    <a:pt x="5004" y="1051"/>
                  </a:lnTo>
                  <a:cubicBezTo>
                    <a:pt x="4998" y="1051"/>
                    <a:pt x="4998" y="1051"/>
                    <a:pt x="4992" y="1051"/>
                  </a:cubicBezTo>
                  <a:cubicBezTo>
                    <a:pt x="4987" y="1051"/>
                    <a:pt x="4987" y="1051"/>
                    <a:pt x="4987" y="1057"/>
                  </a:cubicBezTo>
                  <a:cubicBezTo>
                    <a:pt x="4987" y="1057"/>
                    <a:pt x="4981" y="1068"/>
                    <a:pt x="4987" y="1068"/>
                  </a:cubicBezTo>
                  <a:lnTo>
                    <a:pt x="4992" y="1068"/>
                  </a:lnTo>
                  <a:cubicBezTo>
                    <a:pt x="4998" y="1063"/>
                    <a:pt x="5004" y="1063"/>
                    <a:pt x="5009" y="1063"/>
                  </a:cubicBezTo>
                  <a:cubicBezTo>
                    <a:pt x="5004" y="1051"/>
                    <a:pt x="5004" y="1051"/>
                    <a:pt x="5004" y="1051"/>
                  </a:cubicBezTo>
                  <a:close/>
                  <a:moveTo>
                    <a:pt x="5078" y="1080"/>
                  </a:moveTo>
                  <a:lnTo>
                    <a:pt x="5078" y="1080"/>
                  </a:lnTo>
                  <a:cubicBezTo>
                    <a:pt x="5078" y="1074"/>
                    <a:pt x="5078" y="1074"/>
                    <a:pt x="5078" y="1068"/>
                  </a:cubicBezTo>
                  <a:cubicBezTo>
                    <a:pt x="5078" y="1063"/>
                    <a:pt x="5072" y="1057"/>
                    <a:pt x="5066" y="1057"/>
                  </a:cubicBezTo>
                  <a:cubicBezTo>
                    <a:pt x="5066" y="1057"/>
                    <a:pt x="5061" y="1057"/>
                    <a:pt x="5055" y="1057"/>
                  </a:cubicBezTo>
                  <a:cubicBezTo>
                    <a:pt x="5049" y="1063"/>
                    <a:pt x="5044" y="1068"/>
                    <a:pt x="5049" y="1074"/>
                  </a:cubicBezTo>
                  <a:cubicBezTo>
                    <a:pt x="5055" y="1074"/>
                    <a:pt x="5049" y="1080"/>
                    <a:pt x="5049" y="1085"/>
                  </a:cubicBezTo>
                  <a:cubicBezTo>
                    <a:pt x="5055" y="1091"/>
                    <a:pt x="5061" y="1091"/>
                    <a:pt x="5066" y="1091"/>
                  </a:cubicBezTo>
                  <a:lnTo>
                    <a:pt x="5078" y="108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" name="Freeform 150"/>
            <p:cNvSpPr>
              <a:spLocks noChangeArrowheads="1"/>
            </p:cNvSpPr>
            <p:nvPr/>
          </p:nvSpPr>
          <p:spPr bwMode="auto">
            <a:xfrm>
              <a:off x="16962223" y="4346179"/>
              <a:ext cx="1226190" cy="838866"/>
            </a:xfrm>
            <a:custGeom>
              <a:avLst/>
              <a:gdLst>
                <a:gd name="T0" fmla="*/ 1563 w 1774"/>
                <a:gd name="T1" fmla="*/ 1136 h 1211"/>
                <a:gd name="T2" fmla="*/ 1364 w 1774"/>
                <a:gd name="T3" fmla="*/ 1159 h 1211"/>
                <a:gd name="T4" fmla="*/ 1239 w 1774"/>
                <a:gd name="T5" fmla="*/ 1091 h 1211"/>
                <a:gd name="T6" fmla="*/ 1182 w 1774"/>
                <a:gd name="T7" fmla="*/ 960 h 1211"/>
                <a:gd name="T8" fmla="*/ 1216 w 1774"/>
                <a:gd name="T9" fmla="*/ 897 h 1211"/>
                <a:gd name="T10" fmla="*/ 1045 w 1774"/>
                <a:gd name="T11" fmla="*/ 915 h 1211"/>
                <a:gd name="T12" fmla="*/ 835 w 1774"/>
                <a:gd name="T13" fmla="*/ 863 h 1211"/>
                <a:gd name="T14" fmla="*/ 705 w 1774"/>
                <a:gd name="T15" fmla="*/ 1011 h 1211"/>
                <a:gd name="T16" fmla="*/ 460 w 1774"/>
                <a:gd name="T17" fmla="*/ 1045 h 1211"/>
                <a:gd name="T18" fmla="*/ 472 w 1774"/>
                <a:gd name="T19" fmla="*/ 863 h 1211"/>
                <a:gd name="T20" fmla="*/ 358 w 1774"/>
                <a:gd name="T21" fmla="*/ 1005 h 1211"/>
                <a:gd name="T22" fmla="*/ 239 w 1774"/>
                <a:gd name="T23" fmla="*/ 943 h 1211"/>
                <a:gd name="T24" fmla="*/ 85 w 1774"/>
                <a:gd name="T25" fmla="*/ 841 h 1211"/>
                <a:gd name="T26" fmla="*/ 0 w 1774"/>
                <a:gd name="T27" fmla="*/ 744 h 1211"/>
                <a:gd name="T28" fmla="*/ 34 w 1774"/>
                <a:gd name="T29" fmla="*/ 653 h 1211"/>
                <a:gd name="T30" fmla="*/ 51 w 1774"/>
                <a:gd name="T31" fmla="*/ 477 h 1211"/>
                <a:gd name="T32" fmla="*/ 68 w 1774"/>
                <a:gd name="T33" fmla="*/ 415 h 1211"/>
                <a:gd name="T34" fmla="*/ 91 w 1774"/>
                <a:gd name="T35" fmla="*/ 335 h 1211"/>
                <a:gd name="T36" fmla="*/ 46 w 1774"/>
                <a:gd name="T37" fmla="*/ 267 h 1211"/>
                <a:gd name="T38" fmla="*/ 6 w 1774"/>
                <a:gd name="T39" fmla="*/ 182 h 1211"/>
                <a:gd name="T40" fmla="*/ 57 w 1774"/>
                <a:gd name="T41" fmla="*/ 125 h 1211"/>
                <a:gd name="T42" fmla="*/ 63 w 1774"/>
                <a:gd name="T43" fmla="*/ 17 h 1211"/>
                <a:gd name="T44" fmla="*/ 170 w 1774"/>
                <a:gd name="T45" fmla="*/ 0 h 1211"/>
                <a:gd name="T46" fmla="*/ 284 w 1774"/>
                <a:gd name="T47" fmla="*/ 28 h 1211"/>
                <a:gd name="T48" fmla="*/ 324 w 1774"/>
                <a:gd name="T49" fmla="*/ 11 h 1211"/>
                <a:gd name="T50" fmla="*/ 375 w 1774"/>
                <a:gd name="T51" fmla="*/ 57 h 1211"/>
                <a:gd name="T52" fmla="*/ 443 w 1774"/>
                <a:gd name="T53" fmla="*/ 68 h 1211"/>
                <a:gd name="T54" fmla="*/ 540 w 1774"/>
                <a:gd name="T55" fmla="*/ 96 h 1211"/>
                <a:gd name="T56" fmla="*/ 591 w 1774"/>
                <a:gd name="T57" fmla="*/ 250 h 1211"/>
                <a:gd name="T58" fmla="*/ 716 w 1774"/>
                <a:gd name="T59" fmla="*/ 250 h 1211"/>
                <a:gd name="T60" fmla="*/ 852 w 1774"/>
                <a:gd name="T61" fmla="*/ 250 h 1211"/>
                <a:gd name="T62" fmla="*/ 1068 w 1774"/>
                <a:gd name="T63" fmla="*/ 341 h 1211"/>
                <a:gd name="T64" fmla="*/ 1398 w 1774"/>
                <a:gd name="T65" fmla="*/ 483 h 1211"/>
                <a:gd name="T66" fmla="*/ 1710 w 1774"/>
                <a:gd name="T67" fmla="*/ 716 h 1211"/>
                <a:gd name="T68" fmla="*/ 1739 w 1774"/>
                <a:gd name="T69" fmla="*/ 824 h 1211"/>
                <a:gd name="T70" fmla="*/ 1653 w 1774"/>
                <a:gd name="T71" fmla="*/ 829 h 1211"/>
                <a:gd name="T72" fmla="*/ 1500 w 1774"/>
                <a:gd name="T73" fmla="*/ 983 h 1211"/>
                <a:gd name="T74" fmla="*/ 1585 w 1774"/>
                <a:gd name="T75" fmla="*/ 1074 h 1211"/>
                <a:gd name="T76" fmla="*/ 1574 w 1774"/>
                <a:gd name="T77" fmla="*/ 1085 h 1211"/>
                <a:gd name="T78" fmla="*/ 1563 w 1774"/>
                <a:gd name="T79" fmla="*/ 1136 h 1211"/>
                <a:gd name="T80" fmla="*/ 256 w 1774"/>
                <a:gd name="T81" fmla="*/ 74 h 1211"/>
                <a:gd name="T82" fmla="*/ 244 w 1774"/>
                <a:gd name="T83" fmla="*/ 51 h 1211"/>
                <a:gd name="T84" fmla="*/ 227 w 1774"/>
                <a:gd name="T85" fmla="*/ 68 h 1211"/>
                <a:gd name="T86" fmla="*/ 244 w 1774"/>
                <a:gd name="T87" fmla="*/ 85 h 1211"/>
                <a:gd name="T88" fmla="*/ 182 w 1774"/>
                <a:gd name="T89" fmla="*/ 45 h 1211"/>
                <a:gd name="T90" fmla="*/ 170 w 1774"/>
                <a:gd name="T91" fmla="*/ 45 h 1211"/>
                <a:gd name="T92" fmla="*/ 165 w 1774"/>
                <a:gd name="T93" fmla="*/ 62 h 1211"/>
                <a:gd name="T94" fmla="*/ 187 w 1774"/>
                <a:gd name="T95" fmla="*/ 57 h 1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74" h="1211">
                  <a:moveTo>
                    <a:pt x="1563" y="1136"/>
                  </a:moveTo>
                  <a:lnTo>
                    <a:pt x="1563" y="1136"/>
                  </a:lnTo>
                  <a:cubicBezTo>
                    <a:pt x="1523" y="1142"/>
                    <a:pt x="1489" y="1170"/>
                    <a:pt x="1455" y="1187"/>
                  </a:cubicBezTo>
                  <a:cubicBezTo>
                    <a:pt x="1398" y="1210"/>
                    <a:pt x="1403" y="1182"/>
                    <a:pt x="1364" y="1159"/>
                  </a:cubicBezTo>
                  <a:cubicBezTo>
                    <a:pt x="1347" y="1147"/>
                    <a:pt x="1324" y="1147"/>
                    <a:pt x="1301" y="1142"/>
                  </a:cubicBezTo>
                  <a:cubicBezTo>
                    <a:pt x="1250" y="1130"/>
                    <a:pt x="1261" y="1136"/>
                    <a:pt x="1239" y="1091"/>
                  </a:cubicBezTo>
                  <a:cubicBezTo>
                    <a:pt x="1233" y="1057"/>
                    <a:pt x="1256" y="1051"/>
                    <a:pt x="1233" y="1023"/>
                  </a:cubicBezTo>
                  <a:cubicBezTo>
                    <a:pt x="1222" y="1017"/>
                    <a:pt x="1182" y="960"/>
                    <a:pt x="1182" y="960"/>
                  </a:cubicBezTo>
                  <a:cubicBezTo>
                    <a:pt x="1193" y="949"/>
                    <a:pt x="1227" y="937"/>
                    <a:pt x="1227" y="932"/>
                  </a:cubicBezTo>
                  <a:cubicBezTo>
                    <a:pt x="1256" y="926"/>
                    <a:pt x="1227" y="897"/>
                    <a:pt x="1216" y="897"/>
                  </a:cubicBezTo>
                  <a:cubicBezTo>
                    <a:pt x="1199" y="892"/>
                    <a:pt x="1182" y="892"/>
                    <a:pt x="1165" y="892"/>
                  </a:cubicBezTo>
                  <a:cubicBezTo>
                    <a:pt x="1136" y="892"/>
                    <a:pt x="1057" y="926"/>
                    <a:pt x="1045" y="915"/>
                  </a:cubicBezTo>
                  <a:cubicBezTo>
                    <a:pt x="1040" y="903"/>
                    <a:pt x="1034" y="852"/>
                    <a:pt x="1028" y="841"/>
                  </a:cubicBezTo>
                  <a:cubicBezTo>
                    <a:pt x="972" y="824"/>
                    <a:pt x="886" y="818"/>
                    <a:pt x="835" y="863"/>
                  </a:cubicBezTo>
                  <a:cubicBezTo>
                    <a:pt x="807" y="886"/>
                    <a:pt x="790" y="869"/>
                    <a:pt x="767" y="875"/>
                  </a:cubicBezTo>
                  <a:cubicBezTo>
                    <a:pt x="767" y="943"/>
                    <a:pt x="733" y="960"/>
                    <a:pt x="705" y="1011"/>
                  </a:cubicBezTo>
                  <a:cubicBezTo>
                    <a:pt x="665" y="1091"/>
                    <a:pt x="659" y="1045"/>
                    <a:pt x="597" y="1057"/>
                  </a:cubicBezTo>
                  <a:cubicBezTo>
                    <a:pt x="574" y="1068"/>
                    <a:pt x="472" y="1068"/>
                    <a:pt x="460" y="1045"/>
                  </a:cubicBezTo>
                  <a:cubicBezTo>
                    <a:pt x="437" y="994"/>
                    <a:pt x="500" y="954"/>
                    <a:pt x="511" y="915"/>
                  </a:cubicBezTo>
                  <a:cubicBezTo>
                    <a:pt x="523" y="863"/>
                    <a:pt x="500" y="869"/>
                    <a:pt x="472" y="863"/>
                  </a:cubicBezTo>
                  <a:cubicBezTo>
                    <a:pt x="426" y="846"/>
                    <a:pt x="415" y="937"/>
                    <a:pt x="409" y="966"/>
                  </a:cubicBezTo>
                  <a:cubicBezTo>
                    <a:pt x="398" y="1011"/>
                    <a:pt x="386" y="983"/>
                    <a:pt x="358" y="1005"/>
                  </a:cubicBezTo>
                  <a:cubicBezTo>
                    <a:pt x="335" y="1023"/>
                    <a:pt x="295" y="1068"/>
                    <a:pt x="273" y="1034"/>
                  </a:cubicBezTo>
                  <a:cubicBezTo>
                    <a:pt x="261" y="1000"/>
                    <a:pt x="244" y="977"/>
                    <a:pt x="239" y="943"/>
                  </a:cubicBezTo>
                  <a:cubicBezTo>
                    <a:pt x="227" y="903"/>
                    <a:pt x="205" y="897"/>
                    <a:pt x="165" y="909"/>
                  </a:cubicBezTo>
                  <a:cubicBezTo>
                    <a:pt x="108" y="920"/>
                    <a:pt x="102" y="881"/>
                    <a:pt x="85" y="841"/>
                  </a:cubicBezTo>
                  <a:cubicBezTo>
                    <a:pt x="80" y="824"/>
                    <a:pt x="51" y="829"/>
                    <a:pt x="46" y="801"/>
                  </a:cubicBezTo>
                  <a:cubicBezTo>
                    <a:pt x="40" y="784"/>
                    <a:pt x="11" y="755"/>
                    <a:pt x="0" y="744"/>
                  </a:cubicBezTo>
                  <a:cubicBezTo>
                    <a:pt x="0" y="733"/>
                    <a:pt x="17" y="716"/>
                    <a:pt x="28" y="704"/>
                  </a:cubicBezTo>
                  <a:cubicBezTo>
                    <a:pt x="34" y="693"/>
                    <a:pt x="34" y="665"/>
                    <a:pt x="34" y="653"/>
                  </a:cubicBezTo>
                  <a:cubicBezTo>
                    <a:pt x="34" y="619"/>
                    <a:pt x="40" y="568"/>
                    <a:pt x="34" y="534"/>
                  </a:cubicBezTo>
                  <a:cubicBezTo>
                    <a:pt x="23" y="500"/>
                    <a:pt x="28" y="494"/>
                    <a:pt x="51" y="477"/>
                  </a:cubicBezTo>
                  <a:cubicBezTo>
                    <a:pt x="91" y="443"/>
                    <a:pt x="28" y="426"/>
                    <a:pt x="34" y="403"/>
                  </a:cubicBezTo>
                  <a:cubicBezTo>
                    <a:pt x="46" y="381"/>
                    <a:pt x="63" y="403"/>
                    <a:pt x="68" y="415"/>
                  </a:cubicBezTo>
                  <a:cubicBezTo>
                    <a:pt x="85" y="449"/>
                    <a:pt x="97" y="420"/>
                    <a:pt x="91" y="397"/>
                  </a:cubicBezTo>
                  <a:cubicBezTo>
                    <a:pt x="91" y="386"/>
                    <a:pt x="80" y="341"/>
                    <a:pt x="91" y="335"/>
                  </a:cubicBezTo>
                  <a:cubicBezTo>
                    <a:pt x="97" y="307"/>
                    <a:pt x="97" y="318"/>
                    <a:pt x="91" y="290"/>
                  </a:cubicBezTo>
                  <a:cubicBezTo>
                    <a:pt x="85" y="290"/>
                    <a:pt x="51" y="273"/>
                    <a:pt x="46" y="267"/>
                  </a:cubicBezTo>
                  <a:cubicBezTo>
                    <a:pt x="40" y="256"/>
                    <a:pt x="63" y="233"/>
                    <a:pt x="63" y="222"/>
                  </a:cubicBezTo>
                  <a:cubicBezTo>
                    <a:pt x="74" y="165"/>
                    <a:pt x="46" y="182"/>
                    <a:pt x="6" y="182"/>
                  </a:cubicBezTo>
                  <a:cubicBezTo>
                    <a:pt x="6" y="176"/>
                    <a:pt x="6" y="176"/>
                    <a:pt x="6" y="176"/>
                  </a:cubicBezTo>
                  <a:cubicBezTo>
                    <a:pt x="6" y="153"/>
                    <a:pt x="46" y="148"/>
                    <a:pt x="57" y="125"/>
                  </a:cubicBezTo>
                  <a:cubicBezTo>
                    <a:pt x="63" y="108"/>
                    <a:pt x="91" y="79"/>
                    <a:pt x="85" y="62"/>
                  </a:cubicBezTo>
                  <a:cubicBezTo>
                    <a:pt x="80" y="51"/>
                    <a:pt x="57" y="23"/>
                    <a:pt x="63" y="17"/>
                  </a:cubicBezTo>
                  <a:cubicBezTo>
                    <a:pt x="80" y="6"/>
                    <a:pt x="108" y="11"/>
                    <a:pt x="131" y="11"/>
                  </a:cubicBezTo>
                  <a:cubicBezTo>
                    <a:pt x="142" y="11"/>
                    <a:pt x="153" y="0"/>
                    <a:pt x="170" y="0"/>
                  </a:cubicBezTo>
                  <a:cubicBezTo>
                    <a:pt x="182" y="0"/>
                    <a:pt x="205" y="6"/>
                    <a:pt x="222" y="6"/>
                  </a:cubicBezTo>
                  <a:cubicBezTo>
                    <a:pt x="244" y="6"/>
                    <a:pt x="261" y="45"/>
                    <a:pt x="284" y="28"/>
                  </a:cubicBezTo>
                  <a:cubicBezTo>
                    <a:pt x="324" y="11"/>
                    <a:pt x="324" y="11"/>
                    <a:pt x="324" y="11"/>
                  </a:cubicBezTo>
                  <a:lnTo>
                    <a:pt x="324" y="11"/>
                  </a:lnTo>
                  <a:cubicBezTo>
                    <a:pt x="352" y="23"/>
                    <a:pt x="352" y="23"/>
                    <a:pt x="352" y="23"/>
                  </a:cubicBezTo>
                  <a:cubicBezTo>
                    <a:pt x="352" y="40"/>
                    <a:pt x="347" y="57"/>
                    <a:pt x="375" y="57"/>
                  </a:cubicBezTo>
                  <a:cubicBezTo>
                    <a:pt x="375" y="85"/>
                    <a:pt x="352" y="108"/>
                    <a:pt x="369" y="125"/>
                  </a:cubicBezTo>
                  <a:cubicBezTo>
                    <a:pt x="392" y="148"/>
                    <a:pt x="443" y="91"/>
                    <a:pt x="443" y="68"/>
                  </a:cubicBezTo>
                  <a:cubicBezTo>
                    <a:pt x="449" y="40"/>
                    <a:pt x="472" y="28"/>
                    <a:pt x="494" y="57"/>
                  </a:cubicBezTo>
                  <a:cubicBezTo>
                    <a:pt x="506" y="68"/>
                    <a:pt x="540" y="68"/>
                    <a:pt x="540" y="96"/>
                  </a:cubicBezTo>
                  <a:cubicBezTo>
                    <a:pt x="540" y="159"/>
                    <a:pt x="540" y="159"/>
                    <a:pt x="540" y="159"/>
                  </a:cubicBezTo>
                  <a:cubicBezTo>
                    <a:pt x="540" y="199"/>
                    <a:pt x="574" y="210"/>
                    <a:pt x="591" y="250"/>
                  </a:cubicBezTo>
                  <a:cubicBezTo>
                    <a:pt x="602" y="273"/>
                    <a:pt x="619" y="227"/>
                    <a:pt x="642" y="244"/>
                  </a:cubicBezTo>
                  <a:cubicBezTo>
                    <a:pt x="682" y="273"/>
                    <a:pt x="665" y="324"/>
                    <a:pt x="716" y="250"/>
                  </a:cubicBezTo>
                  <a:cubicBezTo>
                    <a:pt x="761" y="182"/>
                    <a:pt x="801" y="267"/>
                    <a:pt x="852" y="250"/>
                  </a:cubicBezTo>
                  <a:lnTo>
                    <a:pt x="852" y="250"/>
                  </a:lnTo>
                  <a:cubicBezTo>
                    <a:pt x="869" y="250"/>
                    <a:pt x="886" y="267"/>
                    <a:pt x="903" y="273"/>
                  </a:cubicBezTo>
                  <a:cubicBezTo>
                    <a:pt x="960" y="290"/>
                    <a:pt x="1023" y="324"/>
                    <a:pt x="1068" y="341"/>
                  </a:cubicBezTo>
                  <a:cubicBezTo>
                    <a:pt x="1114" y="363"/>
                    <a:pt x="1256" y="346"/>
                    <a:pt x="1267" y="403"/>
                  </a:cubicBezTo>
                  <a:cubicBezTo>
                    <a:pt x="1295" y="494"/>
                    <a:pt x="1318" y="454"/>
                    <a:pt x="1398" y="483"/>
                  </a:cubicBezTo>
                  <a:cubicBezTo>
                    <a:pt x="1437" y="500"/>
                    <a:pt x="1460" y="562"/>
                    <a:pt x="1483" y="591"/>
                  </a:cubicBezTo>
                  <a:cubicBezTo>
                    <a:pt x="1540" y="653"/>
                    <a:pt x="1636" y="676"/>
                    <a:pt x="1710" y="716"/>
                  </a:cubicBezTo>
                  <a:cubicBezTo>
                    <a:pt x="1722" y="721"/>
                    <a:pt x="1744" y="738"/>
                    <a:pt x="1773" y="755"/>
                  </a:cubicBezTo>
                  <a:cubicBezTo>
                    <a:pt x="1739" y="824"/>
                    <a:pt x="1739" y="824"/>
                    <a:pt x="1739" y="824"/>
                  </a:cubicBezTo>
                  <a:cubicBezTo>
                    <a:pt x="1739" y="858"/>
                    <a:pt x="1716" y="829"/>
                    <a:pt x="1699" y="824"/>
                  </a:cubicBezTo>
                  <a:cubicBezTo>
                    <a:pt x="1676" y="812"/>
                    <a:pt x="1670" y="835"/>
                    <a:pt x="1653" y="829"/>
                  </a:cubicBezTo>
                  <a:cubicBezTo>
                    <a:pt x="1597" y="790"/>
                    <a:pt x="1614" y="824"/>
                    <a:pt x="1579" y="852"/>
                  </a:cubicBezTo>
                  <a:cubicBezTo>
                    <a:pt x="1551" y="881"/>
                    <a:pt x="1489" y="943"/>
                    <a:pt x="1500" y="983"/>
                  </a:cubicBezTo>
                  <a:cubicBezTo>
                    <a:pt x="1506" y="1011"/>
                    <a:pt x="1511" y="1023"/>
                    <a:pt x="1534" y="1034"/>
                  </a:cubicBezTo>
                  <a:cubicBezTo>
                    <a:pt x="1563" y="1045"/>
                    <a:pt x="1579" y="1040"/>
                    <a:pt x="1585" y="1074"/>
                  </a:cubicBezTo>
                  <a:lnTo>
                    <a:pt x="1585" y="1074"/>
                  </a:lnTo>
                  <a:cubicBezTo>
                    <a:pt x="1574" y="1085"/>
                    <a:pt x="1574" y="1085"/>
                    <a:pt x="1574" y="1085"/>
                  </a:cubicBezTo>
                  <a:cubicBezTo>
                    <a:pt x="1568" y="1091"/>
                    <a:pt x="1557" y="1102"/>
                    <a:pt x="1557" y="1113"/>
                  </a:cubicBezTo>
                  <a:cubicBezTo>
                    <a:pt x="1557" y="1119"/>
                    <a:pt x="1563" y="1130"/>
                    <a:pt x="1563" y="1136"/>
                  </a:cubicBezTo>
                  <a:close/>
                  <a:moveTo>
                    <a:pt x="256" y="74"/>
                  </a:moveTo>
                  <a:lnTo>
                    <a:pt x="256" y="74"/>
                  </a:lnTo>
                  <a:cubicBezTo>
                    <a:pt x="256" y="68"/>
                    <a:pt x="256" y="68"/>
                    <a:pt x="256" y="62"/>
                  </a:cubicBezTo>
                  <a:cubicBezTo>
                    <a:pt x="256" y="57"/>
                    <a:pt x="250" y="51"/>
                    <a:pt x="244" y="51"/>
                  </a:cubicBezTo>
                  <a:cubicBezTo>
                    <a:pt x="244" y="51"/>
                    <a:pt x="239" y="51"/>
                    <a:pt x="233" y="51"/>
                  </a:cubicBezTo>
                  <a:cubicBezTo>
                    <a:pt x="227" y="57"/>
                    <a:pt x="222" y="62"/>
                    <a:pt x="227" y="68"/>
                  </a:cubicBezTo>
                  <a:cubicBezTo>
                    <a:pt x="233" y="68"/>
                    <a:pt x="227" y="74"/>
                    <a:pt x="227" y="79"/>
                  </a:cubicBezTo>
                  <a:cubicBezTo>
                    <a:pt x="233" y="85"/>
                    <a:pt x="239" y="85"/>
                    <a:pt x="244" y="85"/>
                  </a:cubicBezTo>
                  <a:cubicBezTo>
                    <a:pt x="256" y="74"/>
                    <a:pt x="256" y="74"/>
                    <a:pt x="256" y="74"/>
                  </a:cubicBezTo>
                  <a:close/>
                  <a:moveTo>
                    <a:pt x="182" y="45"/>
                  </a:moveTo>
                  <a:lnTo>
                    <a:pt x="182" y="45"/>
                  </a:lnTo>
                  <a:cubicBezTo>
                    <a:pt x="176" y="45"/>
                    <a:pt x="176" y="45"/>
                    <a:pt x="170" y="45"/>
                  </a:cubicBezTo>
                  <a:cubicBezTo>
                    <a:pt x="165" y="45"/>
                    <a:pt x="165" y="45"/>
                    <a:pt x="165" y="51"/>
                  </a:cubicBezTo>
                  <a:cubicBezTo>
                    <a:pt x="165" y="51"/>
                    <a:pt x="159" y="62"/>
                    <a:pt x="165" y="62"/>
                  </a:cubicBezTo>
                  <a:lnTo>
                    <a:pt x="170" y="62"/>
                  </a:lnTo>
                  <a:cubicBezTo>
                    <a:pt x="176" y="57"/>
                    <a:pt x="182" y="57"/>
                    <a:pt x="187" y="57"/>
                  </a:cubicBezTo>
                  <a:lnTo>
                    <a:pt x="182" y="4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" name="Freeform 151"/>
            <p:cNvSpPr>
              <a:spLocks noChangeArrowheads="1"/>
            </p:cNvSpPr>
            <p:nvPr/>
          </p:nvSpPr>
          <p:spPr bwMode="auto">
            <a:xfrm>
              <a:off x="17770532" y="4028935"/>
              <a:ext cx="2501186" cy="3474434"/>
            </a:xfrm>
            <a:custGeom>
              <a:avLst/>
              <a:gdLst>
                <a:gd name="T0" fmla="*/ 461 w 3615"/>
                <a:gd name="T1" fmla="*/ 1539 h 5023"/>
                <a:gd name="T2" fmla="*/ 790 w 3615"/>
                <a:gd name="T3" fmla="*/ 1664 h 5023"/>
                <a:gd name="T4" fmla="*/ 1000 w 3615"/>
                <a:gd name="T5" fmla="*/ 1363 h 5023"/>
                <a:gd name="T6" fmla="*/ 949 w 3615"/>
                <a:gd name="T7" fmla="*/ 1130 h 5023"/>
                <a:gd name="T8" fmla="*/ 1046 w 3615"/>
                <a:gd name="T9" fmla="*/ 806 h 5023"/>
                <a:gd name="T10" fmla="*/ 1194 w 3615"/>
                <a:gd name="T11" fmla="*/ 608 h 5023"/>
                <a:gd name="T12" fmla="*/ 1262 w 3615"/>
                <a:gd name="T13" fmla="*/ 454 h 5023"/>
                <a:gd name="T14" fmla="*/ 1552 w 3615"/>
                <a:gd name="T15" fmla="*/ 289 h 5023"/>
                <a:gd name="T16" fmla="*/ 1648 w 3615"/>
                <a:gd name="T17" fmla="*/ 96 h 5023"/>
                <a:gd name="T18" fmla="*/ 1773 w 3615"/>
                <a:gd name="T19" fmla="*/ 22 h 5023"/>
                <a:gd name="T20" fmla="*/ 1909 w 3615"/>
                <a:gd name="T21" fmla="*/ 130 h 5023"/>
                <a:gd name="T22" fmla="*/ 2034 w 3615"/>
                <a:gd name="T23" fmla="*/ 176 h 5023"/>
                <a:gd name="T24" fmla="*/ 2421 w 3615"/>
                <a:gd name="T25" fmla="*/ 210 h 5023"/>
                <a:gd name="T26" fmla="*/ 2671 w 3615"/>
                <a:gd name="T27" fmla="*/ 380 h 5023"/>
                <a:gd name="T28" fmla="*/ 2887 w 3615"/>
                <a:gd name="T29" fmla="*/ 312 h 5023"/>
                <a:gd name="T30" fmla="*/ 3091 w 3615"/>
                <a:gd name="T31" fmla="*/ 335 h 5023"/>
                <a:gd name="T32" fmla="*/ 3267 w 3615"/>
                <a:gd name="T33" fmla="*/ 369 h 5023"/>
                <a:gd name="T34" fmla="*/ 3477 w 3615"/>
                <a:gd name="T35" fmla="*/ 380 h 5023"/>
                <a:gd name="T36" fmla="*/ 3591 w 3615"/>
                <a:gd name="T37" fmla="*/ 511 h 5023"/>
                <a:gd name="T38" fmla="*/ 3529 w 3615"/>
                <a:gd name="T39" fmla="*/ 750 h 5023"/>
                <a:gd name="T40" fmla="*/ 3603 w 3615"/>
                <a:gd name="T41" fmla="*/ 943 h 5023"/>
                <a:gd name="T42" fmla="*/ 3477 w 3615"/>
                <a:gd name="T43" fmla="*/ 1443 h 5023"/>
                <a:gd name="T44" fmla="*/ 3404 w 3615"/>
                <a:gd name="T45" fmla="*/ 1732 h 5023"/>
                <a:gd name="T46" fmla="*/ 3159 w 3615"/>
                <a:gd name="T47" fmla="*/ 1931 h 5023"/>
                <a:gd name="T48" fmla="*/ 3188 w 3615"/>
                <a:gd name="T49" fmla="*/ 2181 h 5023"/>
                <a:gd name="T50" fmla="*/ 3114 w 3615"/>
                <a:gd name="T51" fmla="*/ 2568 h 5023"/>
                <a:gd name="T52" fmla="*/ 3051 w 3615"/>
                <a:gd name="T53" fmla="*/ 2823 h 5023"/>
                <a:gd name="T54" fmla="*/ 2915 w 3615"/>
                <a:gd name="T55" fmla="*/ 2977 h 5023"/>
                <a:gd name="T56" fmla="*/ 3000 w 3615"/>
                <a:gd name="T57" fmla="*/ 3442 h 5023"/>
                <a:gd name="T58" fmla="*/ 2870 w 3615"/>
                <a:gd name="T59" fmla="*/ 3568 h 5023"/>
                <a:gd name="T60" fmla="*/ 2818 w 3615"/>
                <a:gd name="T61" fmla="*/ 3619 h 5023"/>
                <a:gd name="T62" fmla="*/ 2625 w 3615"/>
                <a:gd name="T63" fmla="*/ 3602 h 5023"/>
                <a:gd name="T64" fmla="*/ 2318 w 3615"/>
                <a:gd name="T65" fmla="*/ 3692 h 5023"/>
                <a:gd name="T66" fmla="*/ 2307 w 3615"/>
                <a:gd name="T67" fmla="*/ 3789 h 5023"/>
                <a:gd name="T68" fmla="*/ 2267 w 3615"/>
                <a:gd name="T69" fmla="*/ 4033 h 5023"/>
                <a:gd name="T70" fmla="*/ 2199 w 3615"/>
                <a:gd name="T71" fmla="*/ 4278 h 5023"/>
                <a:gd name="T72" fmla="*/ 1972 w 3615"/>
                <a:gd name="T73" fmla="*/ 4493 h 5023"/>
                <a:gd name="T74" fmla="*/ 1733 w 3615"/>
                <a:gd name="T75" fmla="*/ 4743 h 5023"/>
                <a:gd name="T76" fmla="*/ 1688 w 3615"/>
                <a:gd name="T77" fmla="*/ 4965 h 5023"/>
                <a:gd name="T78" fmla="*/ 1552 w 3615"/>
                <a:gd name="T79" fmla="*/ 4925 h 5023"/>
                <a:gd name="T80" fmla="*/ 1318 w 3615"/>
                <a:gd name="T81" fmla="*/ 4823 h 5023"/>
                <a:gd name="T82" fmla="*/ 1211 w 3615"/>
                <a:gd name="T83" fmla="*/ 4584 h 5023"/>
                <a:gd name="T84" fmla="*/ 1080 w 3615"/>
                <a:gd name="T85" fmla="*/ 4431 h 5023"/>
                <a:gd name="T86" fmla="*/ 904 w 3615"/>
                <a:gd name="T87" fmla="*/ 4454 h 5023"/>
                <a:gd name="T88" fmla="*/ 676 w 3615"/>
                <a:gd name="T89" fmla="*/ 4374 h 5023"/>
                <a:gd name="T90" fmla="*/ 557 w 3615"/>
                <a:gd name="T91" fmla="*/ 4226 h 5023"/>
                <a:gd name="T92" fmla="*/ 569 w 3615"/>
                <a:gd name="T93" fmla="*/ 4028 h 5023"/>
                <a:gd name="T94" fmla="*/ 767 w 3615"/>
                <a:gd name="T95" fmla="*/ 3738 h 5023"/>
                <a:gd name="T96" fmla="*/ 676 w 3615"/>
                <a:gd name="T97" fmla="*/ 3312 h 5023"/>
                <a:gd name="T98" fmla="*/ 375 w 3615"/>
                <a:gd name="T99" fmla="*/ 2988 h 5023"/>
                <a:gd name="T100" fmla="*/ 154 w 3615"/>
                <a:gd name="T101" fmla="*/ 2909 h 5023"/>
                <a:gd name="T102" fmla="*/ 35 w 3615"/>
                <a:gd name="T103" fmla="*/ 2857 h 5023"/>
                <a:gd name="T104" fmla="*/ 12 w 3615"/>
                <a:gd name="T105" fmla="*/ 2596 h 5023"/>
                <a:gd name="T106" fmla="*/ 211 w 3615"/>
                <a:gd name="T107" fmla="*/ 2528 h 5023"/>
                <a:gd name="T108" fmla="*/ 228 w 3615"/>
                <a:gd name="T109" fmla="*/ 2181 h 5023"/>
                <a:gd name="T110" fmla="*/ 449 w 3615"/>
                <a:gd name="T111" fmla="*/ 2039 h 5023"/>
                <a:gd name="T112" fmla="*/ 421 w 3615"/>
                <a:gd name="T113" fmla="*/ 1715 h 5023"/>
                <a:gd name="T114" fmla="*/ 387 w 3615"/>
                <a:gd name="T115" fmla="*/ 1573 h 5023"/>
                <a:gd name="T116" fmla="*/ 1256 w 3615"/>
                <a:gd name="T117" fmla="*/ 846 h 5023"/>
                <a:gd name="T118" fmla="*/ 1222 w 3615"/>
                <a:gd name="T119" fmla="*/ 846 h 5023"/>
                <a:gd name="T120" fmla="*/ 1358 w 3615"/>
                <a:gd name="T121" fmla="*/ 744 h 5023"/>
                <a:gd name="T122" fmla="*/ 1296 w 3615"/>
                <a:gd name="T123" fmla="*/ 789 h 5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15" h="5023">
                  <a:moveTo>
                    <a:pt x="415" y="1534"/>
                  </a:moveTo>
                  <a:lnTo>
                    <a:pt x="415" y="1534"/>
                  </a:lnTo>
                  <a:cubicBezTo>
                    <a:pt x="427" y="1534"/>
                    <a:pt x="432" y="1534"/>
                    <a:pt x="444" y="1534"/>
                  </a:cubicBezTo>
                  <a:cubicBezTo>
                    <a:pt x="449" y="1534"/>
                    <a:pt x="455" y="1534"/>
                    <a:pt x="461" y="1539"/>
                  </a:cubicBezTo>
                  <a:cubicBezTo>
                    <a:pt x="472" y="1551"/>
                    <a:pt x="483" y="1539"/>
                    <a:pt x="500" y="1539"/>
                  </a:cubicBezTo>
                  <a:cubicBezTo>
                    <a:pt x="512" y="1539"/>
                    <a:pt x="517" y="1545"/>
                    <a:pt x="523" y="1556"/>
                  </a:cubicBezTo>
                  <a:cubicBezTo>
                    <a:pt x="546" y="1613"/>
                    <a:pt x="591" y="1585"/>
                    <a:pt x="631" y="1585"/>
                  </a:cubicBezTo>
                  <a:cubicBezTo>
                    <a:pt x="688" y="1585"/>
                    <a:pt x="722" y="1693"/>
                    <a:pt x="790" y="1664"/>
                  </a:cubicBezTo>
                  <a:cubicBezTo>
                    <a:pt x="841" y="1647"/>
                    <a:pt x="875" y="1636"/>
                    <a:pt x="932" y="1636"/>
                  </a:cubicBezTo>
                  <a:cubicBezTo>
                    <a:pt x="978" y="1636"/>
                    <a:pt x="983" y="1585"/>
                    <a:pt x="995" y="1545"/>
                  </a:cubicBezTo>
                  <a:cubicBezTo>
                    <a:pt x="1000" y="1534"/>
                    <a:pt x="1091" y="1409"/>
                    <a:pt x="1052" y="1414"/>
                  </a:cubicBezTo>
                  <a:cubicBezTo>
                    <a:pt x="1000" y="1420"/>
                    <a:pt x="1029" y="1386"/>
                    <a:pt x="1000" y="1363"/>
                  </a:cubicBezTo>
                  <a:cubicBezTo>
                    <a:pt x="983" y="1352"/>
                    <a:pt x="949" y="1318"/>
                    <a:pt x="955" y="1295"/>
                  </a:cubicBezTo>
                  <a:cubicBezTo>
                    <a:pt x="955" y="1267"/>
                    <a:pt x="972" y="1238"/>
                    <a:pt x="961" y="1215"/>
                  </a:cubicBezTo>
                  <a:cubicBezTo>
                    <a:pt x="955" y="1198"/>
                    <a:pt x="938" y="1187"/>
                    <a:pt x="938" y="1170"/>
                  </a:cubicBezTo>
                  <a:cubicBezTo>
                    <a:pt x="932" y="1164"/>
                    <a:pt x="949" y="1142"/>
                    <a:pt x="949" y="1130"/>
                  </a:cubicBezTo>
                  <a:cubicBezTo>
                    <a:pt x="966" y="1091"/>
                    <a:pt x="955" y="1062"/>
                    <a:pt x="978" y="1022"/>
                  </a:cubicBezTo>
                  <a:cubicBezTo>
                    <a:pt x="983" y="1011"/>
                    <a:pt x="1063" y="920"/>
                    <a:pt x="1034" y="914"/>
                  </a:cubicBezTo>
                  <a:cubicBezTo>
                    <a:pt x="1006" y="914"/>
                    <a:pt x="1000" y="897"/>
                    <a:pt x="1012" y="880"/>
                  </a:cubicBezTo>
                  <a:cubicBezTo>
                    <a:pt x="1029" y="857"/>
                    <a:pt x="1029" y="823"/>
                    <a:pt x="1046" y="806"/>
                  </a:cubicBezTo>
                  <a:cubicBezTo>
                    <a:pt x="1063" y="778"/>
                    <a:pt x="1103" y="778"/>
                    <a:pt x="1103" y="738"/>
                  </a:cubicBezTo>
                  <a:cubicBezTo>
                    <a:pt x="1103" y="721"/>
                    <a:pt x="1086" y="693"/>
                    <a:pt x="1091" y="676"/>
                  </a:cubicBezTo>
                  <a:cubicBezTo>
                    <a:pt x="1097" y="659"/>
                    <a:pt x="1103" y="619"/>
                    <a:pt x="1108" y="608"/>
                  </a:cubicBezTo>
                  <a:cubicBezTo>
                    <a:pt x="1120" y="596"/>
                    <a:pt x="1165" y="653"/>
                    <a:pt x="1194" y="608"/>
                  </a:cubicBezTo>
                  <a:cubicBezTo>
                    <a:pt x="1199" y="596"/>
                    <a:pt x="1188" y="585"/>
                    <a:pt x="1199" y="568"/>
                  </a:cubicBezTo>
                  <a:cubicBezTo>
                    <a:pt x="1216" y="551"/>
                    <a:pt x="1245" y="551"/>
                    <a:pt x="1222" y="522"/>
                  </a:cubicBezTo>
                  <a:cubicBezTo>
                    <a:pt x="1211" y="500"/>
                    <a:pt x="1233" y="505"/>
                    <a:pt x="1245" y="505"/>
                  </a:cubicBezTo>
                  <a:cubicBezTo>
                    <a:pt x="1256" y="511"/>
                    <a:pt x="1250" y="466"/>
                    <a:pt x="1262" y="454"/>
                  </a:cubicBezTo>
                  <a:cubicBezTo>
                    <a:pt x="1284" y="443"/>
                    <a:pt x="1330" y="460"/>
                    <a:pt x="1353" y="454"/>
                  </a:cubicBezTo>
                  <a:cubicBezTo>
                    <a:pt x="1409" y="477"/>
                    <a:pt x="1392" y="420"/>
                    <a:pt x="1404" y="392"/>
                  </a:cubicBezTo>
                  <a:cubicBezTo>
                    <a:pt x="1415" y="346"/>
                    <a:pt x="1421" y="369"/>
                    <a:pt x="1461" y="363"/>
                  </a:cubicBezTo>
                  <a:cubicBezTo>
                    <a:pt x="1500" y="358"/>
                    <a:pt x="1523" y="306"/>
                    <a:pt x="1552" y="289"/>
                  </a:cubicBezTo>
                  <a:cubicBezTo>
                    <a:pt x="1574" y="278"/>
                    <a:pt x="1597" y="267"/>
                    <a:pt x="1614" y="255"/>
                  </a:cubicBezTo>
                  <a:cubicBezTo>
                    <a:pt x="1654" y="227"/>
                    <a:pt x="1614" y="227"/>
                    <a:pt x="1614" y="198"/>
                  </a:cubicBezTo>
                  <a:cubicBezTo>
                    <a:pt x="1625" y="187"/>
                    <a:pt x="1608" y="153"/>
                    <a:pt x="1620" y="136"/>
                  </a:cubicBezTo>
                  <a:cubicBezTo>
                    <a:pt x="1631" y="125"/>
                    <a:pt x="1642" y="113"/>
                    <a:pt x="1648" y="96"/>
                  </a:cubicBezTo>
                  <a:cubicBezTo>
                    <a:pt x="1665" y="74"/>
                    <a:pt x="1665" y="39"/>
                    <a:pt x="1688" y="22"/>
                  </a:cubicBezTo>
                  <a:cubicBezTo>
                    <a:pt x="1711" y="0"/>
                    <a:pt x="1745" y="0"/>
                    <a:pt x="1779" y="0"/>
                  </a:cubicBezTo>
                  <a:lnTo>
                    <a:pt x="1779" y="0"/>
                  </a:lnTo>
                  <a:cubicBezTo>
                    <a:pt x="1779" y="5"/>
                    <a:pt x="1773" y="11"/>
                    <a:pt x="1773" y="22"/>
                  </a:cubicBezTo>
                  <a:cubicBezTo>
                    <a:pt x="1773" y="39"/>
                    <a:pt x="1790" y="45"/>
                    <a:pt x="1796" y="56"/>
                  </a:cubicBezTo>
                  <a:cubicBezTo>
                    <a:pt x="1802" y="56"/>
                    <a:pt x="1847" y="56"/>
                    <a:pt x="1847" y="68"/>
                  </a:cubicBezTo>
                  <a:cubicBezTo>
                    <a:pt x="1858" y="68"/>
                    <a:pt x="1875" y="119"/>
                    <a:pt x="1898" y="125"/>
                  </a:cubicBezTo>
                  <a:lnTo>
                    <a:pt x="1909" y="130"/>
                  </a:lnTo>
                  <a:cubicBezTo>
                    <a:pt x="1926" y="136"/>
                    <a:pt x="1926" y="170"/>
                    <a:pt x="1932" y="182"/>
                  </a:cubicBezTo>
                  <a:cubicBezTo>
                    <a:pt x="1944" y="216"/>
                    <a:pt x="1961" y="159"/>
                    <a:pt x="1978" y="193"/>
                  </a:cubicBezTo>
                  <a:cubicBezTo>
                    <a:pt x="1955" y="267"/>
                    <a:pt x="2017" y="221"/>
                    <a:pt x="2023" y="198"/>
                  </a:cubicBezTo>
                  <a:cubicBezTo>
                    <a:pt x="2034" y="176"/>
                    <a:pt x="2034" y="176"/>
                    <a:pt x="2034" y="176"/>
                  </a:cubicBezTo>
                  <a:cubicBezTo>
                    <a:pt x="2046" y="136"/>
                    <a:pt x="2063" y="182"/>
                    <a:pt x="2091" y="182"/>
                  </a:cubicBezTo>
                  <a:cubicBezTo>
                    <a:pt x="2103" y="221"/>
                    <a:pt x="2148" y="182"/>
                    <a:pt x="2165" y="187"/>
                  </a:cubicBezTo>
                  <a:cubicBezTo>
                    <a:pt x="2171" y="221"/>
                    <a:pt x="2250" y="142"/>
                    <a:pt x="2262" y="136"/>
                  </a:cubicBezTo>
                  <a:cubicBezTo>
                    <a:pt x="2335" y="108"/>
                    <a:pt x="2370" y="204"/>
                    <a:pt x="2421" y="210"/>
                  </a:cubicBezTo>
                  <a:cubicBezTo>
                    <a:pt x="2432" y="210"/>
                    <a:pt x="2466" y="198"/>
                    <a:pt x="2466" y="204"/>
                  </a:cubicBezTo>
                  <a:cubicBezTo>
                    <a:pt x="2483" y="210"/>
                    <a:pt x="2540" y="312"/>
                    <a:pt x="2540" y="312"/>
                  </a:cubicBezTo>
                  <a:cubicBezTo>
                    <a:pt x="2546" y="329"/>
                    <a:pt x="2580" y="352"/>
                    <a:pt x="2597" y="358"/>
                  </a:cubicBezTo>
                  <a:cubicBezTo>
                    <a:pt x="2608" y="363"/>
                    <a:pt x="2659" y="392"/>
                    <a:pt x="2671" y="380"/>
                  </a:cubicBezTo>
                  <a:cubicBezTo>
                    <a:pt x="2693" y="352"/>
                    <a:pt x="2682" y="363"/>
                    <a:pt x="2711" y="369"/>
                  </a:cubicBezTo>
                  <a:cubicBezTo>
                    <a:pt x="2745" y="375"/>
                    <a:pt x="2750" y="358"/>
                    <a:pt x="2762" y="341"/>
                  </a:cubicBezTo>
                  <a:cubicBezTo>
                    <a:pt x="2773" y="324"/>
                    <a:pt x="2796" y="335"/>
                    <a:pt x="2807" y="341"/>
                  </a:cubicBezTo>
                  <a:cubicBezTo>
                    <a:pt x="2818" y="346"/>
                    <a:pt x="2875" y="318"/>
                    <a:pt x="2887" y="312"/>
                  </a:cubicBezTo>
                  <a:cubicBezTo>
                    <a:pt x="2915" y="295"/>
                    <a:pt x="2932" y="335"/>
                    <a:pt x="2955" y="329"/>
                  </a:cubicBezTo>
                  <a:cubicBezTo>
                    <a:pt x="3006" y="324"/>
                    <a:pt x="2989" y="392"/>
                    <a:pt x="3034" y="409"/>
                  </a:cubicBezTo>
                  <a:cubicBezTo>
                    <a:pt x="3051" y="414"/>
                    <a:pt x="3074" y="403"/>
                    <a:pt x="3068" y="380"/>
                  </a:cubicBezTo>
                  <a:cubicBezTo>
                    <a:pt x="3063" y="358"/>
                    <a:pt x="3080" y="352"/>
                    <a:pt x="3091" y="335"/>
                  </a:cubicBezTo>
                  <a:cubicBezTo>
                    <a:pt x="3131" y="324"/>
                    <a:pt x="3114" y="341"/>
                    <a:pt x="3137" y="346"/>
                  </a:cubicBezTo>
                  <a:lnTo>
                    <a:pt x="3142" y="352"/>
                  </a:lnTo>
                  <a:cubicBezTo>
                    <a:pt x="3142" y="369"/>
                    <a:pt x="3193" y="386"/>
                    <a:pt x="3205" y="380"/>
                  </a:cubicBezTo>
                  <a:cubicBezTo>
                    <a:pt x="3222" y="375"/>
                    <a:pt x="3250" y="369"/>
                    <a:pt x="3267" y="369"/>
                  </a:cubicBezTo>
                  <a:cubicBezTo>
                    <a:pt x="3301" y="380"/>
                    <a:pt x="3330" y="358"/>
                    <a:pt x="3364" y="369"/>
                  </a:cubicBezTo>
                  <a:cubicBezTo>
                    <a:pt x="3375" y="369"/>
                    <a:pt x="3392" y="369"/>
                    <a:pt x="3404" y="375"/>
                  </a:cubicBezTo>
                  <a:cubicBezTo>
                    <a:pt x="3421" y="380"/>
                    <a:pt x="3438" y="386"/>
                    <a:pt x="3455" y="386"/>
                  </a:cubicBezTo>
                  <a:cubicBezTo>
                    <a:pt x="3466" y="380"/>
                    <a:pt x="3472" y="380"/>
                    <a:pt x="3477" y="380"/>
                  </a:cubicBezTo>
                  <a:lnTo>
                    <a:pt x="3477" y="380"/>
                  </a:lnTo>
                  <a:cubicBezTo>
                    <a:pt x="3495" y="414"/>
                    <a:pt x="3495" y="414"/>
                    <a:pt x="3495" y="414"/>
                  </a:cubicBezTo>
                  <a:cubicBezTo>
                    <a:pt x="3517" y="437"/>
                    <a:pt x="3517" y="443"/>
                    <a:pt x="3529" y="477"/>
                  </a:cubicBezTo>
                  <a:cubicBezTo>
                    <a:pt x="3540" y="505"/>
                    <a:pt x="3568" y="511"/>
                    <a:pt x="3591" y="511"/>
                  </a:cubicBezTo>
                  <a:cubicBezTo>
                    <a:pt x="3608" y="545"/>
                    <a:pt x="3591" y="579"/>
                    <a:pt x="3574" y="613"/>
                  </a:cubicBezTo>
                  <a:cubicBezTo>
                    <a:pt x="3546" y="664"/>
                    <a:pt x="3568" y="642"/>
                    <a:pt x="3580" y="687"/>
                  </a:cubicBezTo>
                  <a:cubicBezTo>
                    <a:pt x="3580" y="704"/>
                    <a:pt x="3546" y="710"/>
                    <a:pt x="3534" y="716"/>
                  </a:cubicBezTo>
                  <a:cubicBezTo>
                    <a:pt x="3517" y="721"/>
                    <a:pt x="3517" y="738"/>
                    <a:pt x="3529" y="750"/>
                  </a:cubicBezTo>
                  <a:cubicBezTo>
                    <a:pt x="3546" y="772"/>
                    <a:pt x="3523" y="789"/>
                    <a:pt x="3551" y="806"/>
                  </a:cubicBezTo>
                  <a:cubicBezTo>
                    <a:pt x="3574" y="818"/>
                    <a:pt x="3563" y="841"/>
                    <a:pt x="3568" y="869"/>
                  </a:cubicBezTo>
                  <a:cubicBezTo>
                    <a:pt x="3574" y="886"/>
                    <a:pt x="3557" y="914"/>
                    <a:pt x="3563" y="920"/>
                  </a:cubicBezTo>
                  <a:cubicBezTo>
                    <a:pt x="3568" y="931"/>
                    <a:pt x="3614" y="926"/>
                    <a:pt x="3603" y="943"/>
                  </a:cubicBezTo>
                  <a:cubicBezTo>
                    <a:pt x="3568" y="994"/>
                    <a:pt x="3603" y="977"/>
                    <a:pt x="3585" y="1022"/>
                  </a:cubicBezTo>
                  <a:cubicBezTo>
                    <a:pt x="3568" y="1079"/>
                    <a:pt x="3529" y="1164"/>
                    <a:pt x="3529" y="1227"/>
                  </a:cubicBezTo>
                  <a:cubicBezTo>
                    <a:pt x="3529" y="1289"/>
                    <a:pt x="3529" y="1346"/>
                    <a:pt x="3500" y="1403"/>
                  </a:cubicBezTo>
                  <a:cubicBezTo>
                    <a:pt x="3500" y="1414"/>
                    <a:pt x="3483" y="1431"/>
                    <a:pt x="3477" y="1443"/>
                  </a:cubicBezTo>
                  <a:cubicBezTo>
                    <a:pt x="3466" y="1471"/>
                    <a:pt x="3489" y="1500"/>
                    <a:pt x="3461" y="1534"/>
                  </a:cubicBezTo>
                  <a:cubicBezTo>
                    <a:pt x="3455" y="1539"/>
                    <a:pt x="3415" y="1579"/>
                    <a:pt x="3404" y="1585"/>
                  </a:cubicBezTo>
                  <a:cubicBezTo>
                    <a:pt x="3387" y="1585"/>
                    <a:pt x="3364" y="1602"/>
                    <a:pt x="3375" y="1624"/>
                  </a:cubicBezTo>
                  <a:cubicBezTo>
                    <a:pt x="3392" y="1647"/>
                    <a:pt x="3404" y="1704"/>
                    <a:pt x="3404" y="1732"/>
                  </a:cubicBezTo>
                  <a:cubicBezTo>
                    <a:pt x="3404" y="1766"/>
                    <a:pt x="3347" y="1761"/>
                    <a:pt x="3347" y="1784"/>
                  </a:cubicBezTo>
                  <a:cubicBezTo>
                    <a:pt x="3341" y="1818"/>
                    <a:pt x="3324" y="1823"/>
                    <a:pt x="3296" y="1823"/>
                  </a:cubicBezTo>
                  <a:cubicBezTo>
                    <a:pt x="3262" y="1823"/>
                    <a:pt x="3250" y="1869"/>
                    <a:pt x="3250" y="1897"/>
                  </a:cubicBezTo>
                  <a:cubicBezTo>
                    <a:pt x="3250" y="1937"/>
                    <a:pt x="3182" y="1909"/>
                    <a:pt x="3159" y="1931"/>
                  </a:cubicBezTo>
                  <a:cubicBezTo>
                    <a:pt x="3165" y="1926"/>
                    <a:pt x="3165" y="1926"/>
                    <a:pt x="3159" y="1926"/>
                  </a:cubicBezTo>
                  <a:cubicBezTo>
                    <a:pt x="3148" y="1982"/>
                    <a:pt x="3023" y="2039"/>
                    <a:pt x="3080" y="2090"/>
                  </a:cubicBezTo>
                  <a:cubicBezTo>
                    <a:pt x="3108" y="2124"/>
                    <a:pt x="3091" y="2130"/>
                    <a:pt x="3097" y="2170"/>
                  </a:cubicBezTo>
                  <a:cubicBezTo>
                    <a:pt x="3108" y="2210"/>
                    <a:pt x="3159" y="2181"/>
                    <a:pt x="3188" y="2181"/>
                  </a:cubicBezTo>
                  <a:cubicBezTo>
                    <a:pt x="3205" y="2221"/>
                    <a:pt x="3205" y="2346"/>
                    <a:pt x="3148" y="2363"/>
                  </a:cubicBezTo>
                  <a:cubicBezTo>
                    <a:pt x="3125" y="2369"/>
                    <a:pt x="3051" y="2363"/>
                    <a:pt x="3091" y="2414"/>
                  </a:cubicBezTo>
                  <a:cubicBezTo>
                    <a:pt x="3108" y="2437"/>
                    <a:pt x="3103" y="2477"/>
                    <a:pt x="3074" y="2488"/>
                  </a:cubicBezTo>
                  <a:cubicBezTo>
                    <a:pt x="3057" y="2528"/>
                    <a:pt x="3091" y="2539"/>
                    <a:pt x="3114" y="2568"/>
                  </a:cubicBezTo>
                  <a:cubicBezTo>
                    <a:pt x="3131" y="2585"/>
                    <a:pt x="3120" y="2596"/>
                    <a:pt x="3108" y="2607"/>
                  </a:cubicBezTo>
                  <a:cubicBezTo>
                    <a:pt x="3091" y="2624"/>
                    <a:pt x="3108" y="2636"/>
                    <a:pt x="3120" y="2647"/>
                  </a:cubicBezTo>
                  <a:cubicBezTo>
                    <a:pt x="3137" y="2658"/>
                    <a:pt x="3131" y="2738"/>
                    <a:pt x="3125" y="2761"/>
                  </a:cubicBezTo>
                  <a:cubicBezTo>
                    <a:pt x="3114" y="2801"/>
                    <a:pt x="3063" y="2783"/>
                    <a:pt x="3051" y="2823"/>
                  </a:cubicBezTo>
                  <a:cubicBezTo>
                    <a:pt x="3040" y="2846"/>
                    <a:pt x="3057" y="2880"/>
                    <a:pt x="3034" y="2897"/>
                  </a:cubicBezTo>
                  <a:cubicBezTo>
                    <a:pt x="3017" y="2914"/>
                    <a:pt x="2995" y="2914"/>
                    <a:pt x="2983" y="2925"/>
                  </a:cubicBezTo>
                  <a:cubicBezTo>
                    <a:pt x="2972" y="2937"/>
                    <a:pt x="2983" y="2948"/>
                    <a:pt x="2966" y="2954"/>
                  </a:cubicBezTo>
                  <a:cubicBezTo>
                    <a:pt x="2949" y="2965"/>
                    <a:pt x="2915" y="2943"/>
                    <a:pt x="2915" y="2977"/>
                  </a:cubicBezTo>
                  <a:cubicBezTo>
                    <a:pt x="2915" y="2994"/>
                    <a:pt x="2921" y="3039"/>
                    <a:pt x="2932" y="3051"/>
                  </a:cubicBezTo>
                  <a:cubicBezTo>
                    <a:pt x="2955" y="3085"/>
                    <a:pt x="2983" y="3102"/>
                    <a:pt x="3000" y="3147"/>
                  </a:cubicBezTo>
                  <a:cubicBezTo>
                    <a:pt x="3040" y="3238"/>
                    <a:pt x="2955" y="3272"/>
                    <a:pt x="2966" y="3346"/>
                  </a:cubicBezTo>
                  <a:cubicBezTo>
                    <a:pt x="2972" y="3380"/>
                    <a:pt x="2989" y="3414"/>
                    <a:pt x="3000" y="3442"/>
                  </a:cubicBezTo>
                  <a:cubicBezTo>
                    <a:pt x="3006" y="3465"/>
                    <a:pt x="2966" y="3494"/>
                    <a:pt x="2961" y="3516"/>
                  </a:cubicBezTo>
                  <a:cubicBezTo>
                    <a:pt x="2955" y="3533"/>
                    <a:pt x="2949" y="3539"/>
                    <a:pt x="2932" y="3550"/>
                  </a:cubicBezTo>
                  <a:cubicBezTo>
                    <a:pt x="2921" y="3556"/>
                    <a:pt x="2909" y="3556"/>
                    <a:pt x="2892" y="3562"/>
                  </a:cubicBezTo>
                  <a:cubicBezTo>
                    <a:pt x="2887" y="3562"/>
                    <a:pt x="2875" y="3562"/>
                    <a:pt x="2870" y="3568"/>
                  </a:cubicBezTo>
                  <a:cubicBezTo>
                    <a:pt x="2864" y="3573"/>
                    <a:pt x="2870" y="3590"/>
                    <a:pt x="2875" y="3602"/>
                  </a:cubicBezTo>
                  <a:lnTo>
                    <a:pt x="2875" y="3602"/>
                  </a:lnTo>
                  <a:cubicBezTo>
                    <a:pt x="2853" y="3613"/>
                    <a:pt x="2853" y="3613"/>
                    <a:pt x="2853" y="3613"/>
                  </a:cubicBezTo>
                  <a:cubicBezTo>
                    <a:pt x="2841" y="3619"/>
                    <a:pt x="2830" y="3624"/>
                    <a:pt x="2818" y="3619"/>
                  </a:cubicBezTo>
                  <a:cubicBezTo>
                    <a:pt x="2807" y="3613"/>
                    <a:pt x="2807" y="3607"/>
                    <a:pt x="2796" y="3607"/>
                  </a:cubicBezTo>
                  <a:cubicBezTo>
                    <a:pt x="2773" y="3613"/>
                    <a:pt x="2756" y="3636"/>
                    <a:pt x="2733" y="3647"/>
                  </a:cubicBezTo>
                  <a:cubicBezTo>
                    <a:pt x="2733" y="3658"/>
                    <a:pt x="2722" y="3658"/>
                    <a:pt x="2716" y="3658"/>
                  </a:cubicBezTo>
                  <a:cubicBezTo>
                    <a:pt x="2682" y="3613"/>
                    <a:pt x="2699" y="3602"/>
                    <a:pt x="2625" y="3602"/>
                  </a:cubicBezTo>
                  <a:cubicBezTo>
                    <a:pt x="2585" y="3602"/>
                    <a:pt x="2512" y="3573"/>
                    <a:pt x="2495" y="3533"/>
                  </a:cubicBezTo>
                  <a:cubicBezTo>
                    <a:pt x="2489" y="3528"/>
                    <a:pt x="2489" y="3505"/>
                    <a:pt x="2477" y="3505"/>
                  </a:cubicBezTo>
                  <a:cubicBezTo>
                    <a:pt x="2438" y="3505"/>
                    <a:pt x="2409" y="3528"/>
                    <a:pt x="2398" y="3568"/>
                  </a:cubicBezTo>
                  <a:cubicBezTo>
                    <a:pt x="2375" y="3624"/>
                    <a:pt x="2387" y="3658"/>
                    <a:pt x="2318" y="3692"/>
                  </a:cubicBezTo>
                  <a:cubicBezTo>
                    <a:pt x="2273" y="3715"/>
                    <a:pt x="2284" y="3698"/>
                    <a:pt x="2245" y="3687"/>
                  </a:cubicBezTo>
                  <a:cubicBezTo>
                    <a:pt x="2194" y="3670"/>
                    <a:pt x="2216" y="3732"/>
                    <a:pt x="2205" y="3755"/>
                  </a:cubicBezTo>
                  <a:cubicBezTo>
                    <a:pt x="2188" y="3789"/>
                    <a:pt x="2273" y="3795"/>
                    <a:pt x="2290" y="3795"/>
                  </a:cubicBezTo>
                  <a:lnTo>
                    <a:pt x="2307" y="3789"/>
                  </a:lnTo>
                  <a:cubicBezTo>
                    <a:pt x="2318" y="3789"/>
                    <a:pt x="2307" y="3846"/>
                    <a:pt x="2307" y="3852"/>
                  </a:cubicBezTo>
                  <a:cubicBezTo>
                    <a:pt x="2307" y="3869"/>
                    <a:pt x="2301" y="3948"/>
                    <a:pt x="2307" y="3954"/>
                  </a:cubicBezTo>
                  <a:cubicBezTo>
                    <a:pt x="2330" y="3960"/>
                    <a:pt x="2347" y="3994"/>
                    <a:pt x="2324" y="4011"/>
                  </a:cubicBezTo>
                  <a:cubicBezTo>
                    <a:pt x="2307" y="4028"/>
                    <a:pt x="2279" y="4022"/>
                    <a:pt x="2267" y="4033"/>
                  </a:cubicBezTo>
                  <a:cubicBezTo>
                    <a:pt x="2239" y="4062"/>
                    <a:pt x="2262" y="4079"/>
                    <a:pt x="2273" y="4102"/>
                  </a:cubicBezTo>
                  <a:cubicBezTo>
                    <a:pt x="2279" y="4119"/>
                    <a:pt x="2330" y="4164"/>
                    <a:pt x="2324" y="4175"/>
                  </a:cubicBezTo>
                  <a:cubicBezTo>
                    <a:pt x="2324" y="4181"/>
                    <a:pt x="2284" y="4204"/>
                    <a:pt x="2273" y="4209"/>
                  </a:cubicBezTo>
                  <a:cubicBezTo>
                    <a:pt x="2245" y="4238"/>
                    <a:pt x="2239" y="4266"/>
                    <a:pt x="2199" y="4278"/>
                  </a:cubicBezTo>
                  <a:cubicBezTo>
                    <a:pt x="2171" y="4289"/>
                    <a:pt x="2199" y="4323"/>
                    <a:pt x="2199" y="4340"/>
                  </a:cubicBezTo>
                  <a:cubicBezTo>
                    <a:pt x="2199" y="4380"/>
                    <a:pt x="2074" y="4408"/>
                    <a:pt x="2046" y="4397"/>
                  </a:cubicBezTo>
                  <a:cubicBezTo>
                    <a:pt x="2034" y="4391"/>
                    <a:pt x="2017" y="4374"/>
                    <a:pt x="2006" y="4374"/>
                  </a:cubicBezTo>
                  <a:cubicBezTo>
                    <a:pt x="1989" y="4408"/>
                    <a:pt x="1983" y="4454"/>
                    <a:pt x="1972" y="4493"/>
                  </a:cubicBezTo>
                  <a:cubicBezTo>
                    <a:pt x="1961" y="4545"/>
                    <a:pt x="1938" y="4556"/>
                    <a:pt x="1909" y="4596"/>
                  </a:cubicBezTo>
                  <a:cubicBezTo>
                    <a:pt x="1892" y="4624"/>
                    <a:pt x="1915" y="4641"/>
                    <a:pt x="1915" y="4664"/>
                  </a:cubicBezTo>
                  <a:cubicBezTo>
                    <a:pt x="1904" y="4664"/>
                    <a:pt x="1892" y="4664"/>
                    <a:pt x="1875" y="4664"/>
                  </a:cubicBezTo>
                  <a:cubicBezTo>
                    <a:pt x="1830" y="4727"/>
                    <a:pt x="1767" y="4687"/>
                    <a:pt x="1733" y="4743"/>
                  </a:cubicBezTo>
                  <a:cubicBezTo>
                    <a:pt x="1705" y="4789"/>
                    <a:pt x="1642" y="4795"/>
                    <a:pt x="1637" y="4829"/>
                  </a:cubicBezTo>
                  <a:cubicBezTo>
                    <a:pt x="1631" y="4857"/>
                    <a:pt x="1642" y="4914"/>
                    <a:pt x="1659" y="4931"/>
                  </a:cubicBezTo>
                  <a:cubicBezTo>
                    <a:pt x="1665" y="4937"/>
                    <a:pt x="1694" y="4959"/>
                    <a:pt x="1688" y="4965"/>
                  </a:cubicBezTo>
                  <a:cubicBezTo>
                    <a:pt x="1688" y="4965"/>
                    <a:pt x="1694" y="4965"/>
                    <a:pt x="1688" y="4965"/>
                  </a:cubicBezTo>
                  <a:cubicBezTo>
                    <a:pt x="1688" y="4971"/>
                    <a:pt x="1648" y="4982"/>
                    <a:pt x="1642" y="4988"/>
                  </a:cubicBezTo>
                  <a:cubicBezTo>
                    <a:pt x="1631" y="4999"/>
                    <a:pt x="1608" y="5022"/>
                    <a:pt x="1591" y="5022"/>
                  </a:cubicBezTo>
                  <a:cubicBezTo>
                    <a:pt x="1591" y="5011"/>
                    <a:pt x="1563" y="4988"/>
                    <a:pt x="1552" y="4977"/>
                  </a:cubicBezTo>
                  <a:cubicBezTo>
                    <a:pt x="1546" y="4965"/>
                    <a:pt x="1563" y="4937"/>
                    <a:pt x="1552" y="4925"/>
                  </a:cubicBezTo>
                  <a:cubicBezTo>
                    <a:pt x="1552" y="4903"/>
                    <a:pt x="1563" y="4869"/>
                    <a:pt x="1540" y="4846"/>
                  </a:cubicBezTo>
                  <a:cubicBezTo>
                    <a:pt x="1523" y="4829"/>
                    <a:pt x="1466" y="4829"/>
                    <a:pt x="1461" y="4806"/>
                  </a:cubicBezTo>
                  <a:cubicBezTo>
                    <a:pt x="1432" y="4800"/>
                    <a:pt x="1415" y="4817"/>
                    <a:pt x="1381" y="4812"/>
                  </a:cubicBezTo>
                  <a:cubicBezTo>
                    <a:pt x="1375" y="4789"/>
                    <a:pt x="1330" y="4817"/>
                    <a:pt x="1318" y="4823"/>
                  </a:cubicBezTo>
                  <a:cubicBezTo>
                    <a:pt x="1267" y="4817"/>
                    <a:pt x="1267" y="4817"/>
                    <a:pt x="1267" y="4817"/>
                  </a:cubicBezTo>
                  <a:cubicBezTo>
                    <a:pt x="1245" y="4761"/>
                    <a:pt x="1245" y="4761"/>
                    <a:pt x="1245" y="4761"/>
                  </a:cubicBezTo>
                  <a:cubicBezTo>
                    <a:pt x="1279" y="4749"/>
                    <a:pt x="1370" y="4715"/>
                    <a:pt x="1347" y="4670"/>
                  </a:cubicBezTo>
                  <a:cubicBezTo>
                    <a:pt x="1330" y="4630"/>
                    <a:pt x="1256" y="4579"/>
                    <a:pt x="1211" y="4584"/>
                  </a:cubicBezTo>
                  <a:cubicBezTo>
                    <a:pt x="1148" y="4596"/>
                    <a:pt x="1154" y="4579"/>
                    <a:pt x="1137" y="4533"/>
                  </a:cubicBezTo>
                  <a:cubicBezTo>
                    <a:pt x="1131" y="4516"/>
                    <a:pt x="1114" y="4511"/>
                    <a:pt x="1103" y="4493"/>
                  </a:cubicBezTo>
                  <a:cubicBezTo>
                    <a:pt x="1086" y="4477"/>
                    <a:pt x="1086" y="4459"/>
                    <a:pt x="1086" y="4431"/>
                  </a:cubicBezTo>
                  <a:cubicBezTo>
                    <a:pt x="1080" y="4431"/>
                    <a:pt x="1080" y="4431"/>
                    <a:pt x="1080" y="4431"/>
                  </a:cubicBezTo>
                  <a:cubicBezTo>
                    <a:pt x="1000" y="4454"/>
                    <a:pt x="1097" y="4584"/>
                    <a:pt x="978" y="4556"/>
                  </a:cubicBezTo>
                  <a:cubicBezTo>
                    <a:pt x="898" y="4545"/>
                    <a:pt x="898" y="4545"/>
                    <a:pt x="898" y="4545"/>
                  </a:cubicBezTo>
                  <a:lnTo>
                    <a:pt x="898" y="4545"/>
                  </a:lnTo>
                  <a:cubicBezTo>
                    <a:pt x="898" y="4533"/>
                    <a:pt x="909" y="4459"/>
                    <a:pt x="904" y="4454"/>
                  </a:cubicBezTo>
                  <a:cubicBezTo>
                    <a:pt x="887" y="4448"/>
                    <a:pt x="858" y="4477"/>
                    <a:pt x="836" y="4465"/>
                  </a:cubicBezTo>
                  <a:cubicBezTo>
                    <a:pt x="824" y="4454"/>
                    <a:pt x="818" y="4448"/>
                    <a:pt x="802" y="4454"/>
                  </a:cubicBezTo>
                  <a:cubicBezTo>
                    <a:pt x="773" y="4465"/>
                    <a:pt x="762" y="4459"/>
                    <a:pt x="745" y="4437"/>
                  </a:cubicBezTo>
                  <a:cubicBezTo>
                    <a:pt x="722" y="4408"/>
                    <a:pt x="711" y="4386"/>
                    <a:pt x="676" y="4374"/>
                  </a:cubicBezTo>
                  <a:cubicBezTo>
                    <a:pt x="654" y="4363"/>
                    <a:pt x="620" y="4272"/>
                    <a:pt x="591" y="4278"/>
                  </a:cubicBezTo>
                  <a:cubicBezTo>
                    <a:pt x="580" y="4283"/>
                    <a:pt x="557" y="4334"/>
                    <a:pt x="557" y="4323"/>
                  </a:cubicBezTo>
                  <a:cubicBezTo>
                    <a:pt x="540" y="4323"/>
                    <a:pt x="552" y="4255"/>
                    <a:pt x="574" y="4255"/>
                  </a:cubicBezTo>
                  <a:cubicBezTo>
                    <a:pt x="574" y="4243"/>
                    <a:pt x="569" y="4232"/>
                    <a:pt x="557" y="4226"/>
                  </a:cubicBezTo>
                  <a:cubicBezTo>
                    <a:pt x="489" y="4141"/>
                    <a:pt x="489" y="4141"/>
                    <a:pt x="489" y="4141"/>
                  </a:cubicBezTo>
                  <a:cubicBezTo>
                    <a:pt x="438" y="4136"/>
                    <a:pt x="449" y="4107"/>
                    <a:pt x="483" y="4090"/>
                  </a:cubicBezTo>
                  <a:cubicBezTo>
                    <a:pt x="500" y="4084"/>
                    <a:pt x="506" y="4050"/>
                    <a:pt x="523" y="4039"/>
                  </a:cubicBezTo>
                  <a:cubicBezTo>
                    <a:pt x="535" y="4028"/>
                    <a:pt x="557" y="4056"/>
                    <a:pt x="569" y="4028"/>
                  </a:cubicBezTo>
                  <a:cubicBezTo>
                    <a:pt x="580" y="3999"/>
                    <a:pt x="591" y="3823"/>
                    <a:pt x="620" y="3823"/>
                  </a:cubicBezTo>
                  <a:cubicBezTo>
                    <a:pt x="620" y="3829"/>
                    <a:pt x="676" y="3852"/>
                    <a:pt x="688" y="3852"/>
                  </a:cubicBezTo>
                  <a:cubicBezTo>
                    <a:pt x="722" y="3863"/>
                    <a:pt x="722" y="3857"/>
                    <a:pt x="745" y="3834"/>
                  </a:cubicBezTo>
                  <a:cubicBezTo>
                    <a:pt x="773" y="3812"/>
                    <a:pt x="745" y="3738"/>
                    <a:pt x="767" y="3738"/>
                  </a:cubicBezTo>
                  <a:cubicBezTo>
                    <a:pt x="767" y="3732"/>
                    <a:pt x="767" y="3732"/>
                    <a:pt x="767" y="3732"/>
                  </a:cubicBezTo>
                  <a:cubicBezTo>
                    <a:pt x="802" y="3715"/>
                    <a:pt x="756" y="3602"/>
                    <a:pt x="756" y="3573"/>
                  </a:cubicBezTo>
                  <a:cubicBezTo>
                    <a:pt x="762" y="3533"/>
                    <a:pt x="790" y="3465"/>
                    <a:pt x="756" y="3442"/>
                  </a:cubicBezTo>
                  <a:cubicBezTo>
                    <a:pt x="722" y="3414"/>
                    <a:pt x="659" y="3363"/>
                    <a:pt x="676" y="3312"/>
                  </a:cubicBezTo>
                  <a:cubicBezTo>
                    <a:pt x="682" y="3272"/>
                    <a:pt x="699" y="3261"/>
                    <a:pt x="659" y="3232"/>
                  </a:cubicBezTo>
                  <a:cubicBezTo>
                    <a:pt x="642" y="3221"/>
                    <a:pt x="569" y="3159"/>
                    <a:pt x="563" y="3136"/>
                  </a:cubicBezTo>
                  <a:cubicBezTo>
                    <a:pt x="535" y="3119"/>
                    <a:pt x="495" y="3073"/>
                    <a:pt x="483" y="3045"/>
                  </a:cubicBezTo>
                  <a:cubicBezTo>
                    <a:pt x="455" y="2988"/>
                    <a:pt x="415" y="3016"/>
                    <a:pt x="375" y="2988"/>
                  </a:cubicBezTo>
                  <a:cubicBezTo>
                    <a:pt x="364" y="2977"/>
                    <a:pt x="364" y="2954"/>
                    <a:pt x="353" y="2943"/>
                  </a:cubicBezTo>
                  <a:cubicBezTo>
                    <a:pt x="330" y="2920"/>
                    <a:pt x="302" y="2977"/>
                    <a:pt x="290" y="2914"/>
                  </a:cubicBezTo>
                  <a:cubicBezTo>
                    <a:pt x="290" y="2909"/>
                    <a:pt x="273" y="2891"/>
                    <a:pt x="273" y="2886"/>
                  </a:cubicBezTo>
                  <a:cubicBezTo>
                    <a:pt x="233" y="2886"/>
                    <a:pt x="199" y="2920"/>
                    <a:pt x="154" y="2909"/>
                  </a:cubicBezTo>
                  <a:lnTo>
                    <a:pt x="154" y="2909"/>
                  </a:lnTo>
                  <a:cubicBezTo>
                    <a:pt x="131" y="2891"/>
                    <a:pt x="131" y="2891"/>
                    <a:pt x="131" y="2891"/>
                  </a:cubicBezTo>
                  <a:cubicBezTo>
                    <a:pt x="114" y="2880"/>
                    <a:pt x="91" y="2874"/>
                    <a:pt x="80" y="2869"/>
                  </a:cubicBezTo>
                  <a:cubicBezTo>
                    <a:pt x="74" y="2869"/>
                    <a:pt x="40" y="2863"/>
                    <a:pt x="35" y="2857"/>
                  </a:cubicBezTo>
                  <a:lnTo>
                    <a:pt x="35" y="2823"/>
                  </a:lnTo>
                  <a:cubicBezTo>
                    <a:pt x="35" y="2806"/>
                    <a:pt x="40" y="2783"/>
                    <a:pt x="35" y="2766"/>
                  </a:cubicBezTo>
                  <a:cubicBezTo>
                    <a:pt x="23" y="2732"/>
                    <a:pt x="6" y="2693"/>
                    <a:pt x="0" y="2658"/>
                  </a:cubicBezTo>
                  <a:cubicBezTo>
                    <a:pt x="0" y="2636"/>
                    <a:pt x="23" y="2619"/>
                    <a:pt x="12" y="2596"/>
                  </a:cubicBezTo>
                  <a:cubicBezTo>
                    <a:pt x="0" y="2579"/>
                    <a:pt x="40" y="2579"/>
                    <a:pt x="52" y="2568"/>
                  </a:cubicBezTo>
                  <a:cubicBezTo>
                    <a:pt x="80" y="2539"/>
                    <a:pt x="69" y="2443"/>
                    <a:pt x="91" y="2437"/>
                  </a:cubicBezTo>
                  <a:cubicBezTo>
                    <a:pt x="103" y="2431"/>
                    <a:pt x="148" y="2454"/>
                    <a:pt x="154" y="2465"/>
                  </a:cubicBezTo>
                  <a:cubicBezTo>
                    <a:pt x="171" y="2494"/>
                    <a:pt x="171" y="2556"/>
                    <a:pt x="211" y="2528"/>
                  </a:cubicBezTo>
                  <a:cubicBezTo>
                    <a:pt x="267" y="2488"/>
                    <a:pt x="267" y="2488"/>
                    <a:pt x="267" y="2488"/>
                  </a:cubicBezTo>
                  <a:cubicBezTo>
                    <a:pt x="296" y="2471"/>
                    <a:pt x="262" y="2386"/>
                    <a:pt x="245" y="2357"/>
                  </a:cubicBezTo>
                  <a:cubicBezTo>
                    <a:pt x="228" y="2340"/>
                    <a:pt x="239" y="2295"/>
                    <a:pt x="250" y="2272"/>
                  </a:cubicBezTo>
                  <a:cubicBezTo>
                    <a:pt x="262" y="2244"/>
                    <a:pt x="199" y="2210"/>
                    <a:pt x="228" y="2181"/>
                  </a:cubicBezTo>
                  <a:cubicBezTo>
                    <a:pt x="250" y="2153"/>
                    <a:pt x="319" y="2204"/>
                    <a:pt x="319" y="2164"/>
                  </a:cubicBezTo>
                  <a:cubicBezTo>
                    <a:pt x="336" y="2153"/>
                    <a:pt x="347" y="2119"/>
                    <a:pt x="358" y="2119"/>
                  </a:cubicBezTo>
                  <a:cubicBezTo>
                    <a:pt x="381" y="2119"/>
                    <a:pt x="387" y="2107"/>
                    <a:pt x="393" y="2085"/>
                  </a:cubicBezTo>
                  <a:cubicBezTo>
                    <a:pt x="438" y="2068"/>
                    <a:pt x="449" y="2107"/>
                    <a:pt x="449" y="2039"/>
                  </a:cubicBezTo>
                  <a:cubicBezTo>
                    <a:pt x="449" y="2011"/>
                    <a:pt x="483" y="2005"/>
                    <a:pt x="483" y="1965"/>
                  </a:cubicBezTo>
                  <a:lnTo>
                    <a:pt x="483" y="1965"/>
                  </a:lnTo>
                  <a:cubicBezTo>
                    <a:pt x="427" y="1954"/>
                    <a:pt x="455" y="1886"/>
                    <a:pt x="409" y="1874"/>
                  </a:cubicBezTo>
                  <a:cubicBezTo>
                    <a:pt x="409" y="1829"/>
                    <a:pt x="466" y="1766"/>
                    <a:pt x="421" y="1715"/>
                  </a:cubicBezTo>
                  <a:cubicBezTo>
                    <a:pt x="398" y="1693"/>
                    <a:pt x="393" y="1687"/>
                    <a:pt x="393" y="1653"/>
                  </a:cubicBezTo>
                  <a:cubicBezTo>
                    <a:pt x="393" y="1596"/>
                    <a:pt x="393" y="1596"/>
                    <a:pt x="393" y="1596"/>
                  </a:cubicBezTo>
                  <a:lnTo>
                    <a:pt x="393" y="1596"/>
                  </a:lnTo>
                  <a:cubicBezTo>
                    <a:pt x="393" y="1590"/>
                    <a:pt x="387" y="1579"/>
                    <a:pt x="387" y="1573"/>
                  </a:cubicBezTo>
                  <a:cubicBezTo>
                    <a:pt x="387" y="1562"/>
                    <a:pt x="398" y="1551"/>
                    <a:pt x="404" y="1545"/>
                  </a:cubicBezTo>
                  <a:cubicBezTo>
                    <a:pt x="415" y="1534"/>
                    <a:pt x="415" y="1534"/>
                    <a:pt x="415" y="1534"/>
                  </a:cubicBezTo>
                  <a:close/>
                  <a:moveTo>
                    <a:pt x="1256" y="846"/>
                  </a:moveTo>
                  <a:lnTo>
                    <a:pt x="1256" y="846"/>
                  </a:lnTo>
                  <a:cubicBezTo>
                    <a:pt x="1256" y="835"/>
                    <a:pt x="1256" y="829"/>
                    <a:pt x="1262" y="823"/>
                  </a:cubicBezTo>
                  <a:cubicBezTo>
                    <a:pt x="1262" y="818"/>
                    <a:pt x="1262" y="812"/>
                    <a:pt x="1262" y="801"/>
                  </a:cubicBezTo>
                  <a:cubicBezTo>
                    <a:pt x="1262" y="784"/>
                    <a:pt x="1245" y="801"/>
                    <a:pt x="1239" y="806"/>
                  </a:cubicBezTo>
                  <a:cubicBezTo>
                    <a:pt x="1228" y="818"/>
                    <a:pt x="1228" y="835"/>
                    <a:pt x="1222" y="846"/>
                  </a:cubicBezTo>
                  <a:cubicBezTo>
                    <a:pt x="1216" y="852"/>
                    <a:pt x="1216" y="863"/>
                    <a:pt x="1216" y="863"/>
                  </a:cubicBezTo>
                  <a:cubicBezTo>
                    <a:pt x="1228" y="869"/>
                    <a:pt x="1239" y="857"/>
                    <a:pt x="1245" y="852"/>
                  </a:cubicBezTo>
                  <a:cubicBezTo>
                    <a:pt x="1256" y="846"/>
                    <a:pt x="1256" y="846"/>
                    <a:pt x="1256" y="846"/>
                  </a:cubicBezTo>
                  <a:close/>
                  <a:moveTo>
                    <a:pt x="1358" y="744"/>
                  </a:moveTo>
                  <a:lnTo>
                    <a:pt x="1358" y="744"/>
                  </a:lnTo>
                  <a:cubicBezTo>
                    <a:pt x="1341" y="744"/>
                    <a:pt x="1330" y="698"/>
                    <a:pt x="1313" y="727"/>
                  </a:cubicBezTo>
                  <a:cubicBezTo>
                    <a:pt x="1307" y="733"/>
                    <a:pt x="1307" y="738"/>
                    <a:pt x="1307" y="744"/>
                  </a:cubicBezTo>
                  <a:cubicBezTo>
                    <a:pt x="1302" y="755"/>
                    <a:pt x="1284" y="772"/>
                    <a:pt x="1296" y="789"/>
                  </a:cubicBezTo>
                  <a:cubicBezTo>
                    <a:pt x="1307" y="806"/>
                    <a:pt x="1341" y="801"/>
                    <a:pt x="1364" y="801"/>
                  </a:cubicBezTo>
                  <a:cubicBezTo>
                    <a:pt x="1404" y="801"/>
                    <a:pt x="1358" y="778"/>
                    <a:pt x="1358" y="755"/>
                  </a:cubicBezTo>
                  <a:lnTo>
                    <a:pt x="1358" y="7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" name="Freeform 152"/>
            <p:cNvSpPr>
              <a:spLocks noChangeArrowheads="1"/>
            </p:cNvSpPr>
            <p:nvPr/>
          </p:nvSpPr>
          <p:spPr bwMode="auto">
            <a:xfrm>
              <a:off x="17508212" y="3574422"/>
              <a:ext cx="1494611" cy="1628927"/>
            </a:xfrm>
            <a:custGeom>
              <a:avLst/>
              <a:gdLst>
                <a:gd name="T0" fmla="*/ 2153 w 2160"/>
                <a:gd name="T1" fmla="*/ 642 h 2353"/>
                <a:gd name="T2" fmla="*/ 1914 w 2160"/>
                <a:gd name="T3" fmla="*/ 591 h 2353"/>
                <a:gd name="T4" fmla="*/ 1812 w 2160"/>
                <a:gd name="T5" fmla="*/ 556 h 2353"/>
                <a:gd name="T6" fmla="*/ 1716 w 2160"/>
                <a:gd name="T7" fmla="*/ 500 h 2353"/>
                <a:gd name="T8" fmla="*/ 1613 w 2160"/>
                <a:gd name="T9" fmla="*/ 466 h 2353"/>
                <a:gd name="T10" fmla="*/ 1483 w 2160"/>
                <a:gd name="T11" fmla="*/ 329 h 2353"/>
                <a:gd name="T12" fmla="*/ 1261 w 2160"/>
                <a:gd name="T13" fmla="*/ 352 h 2353"/>
                <a:gd name="T14" fmla="*/ 1233 w 2160"/>
                <a:gd name="T15" fmla="*/ 56 h 2353"/>
                <a:gd name="T16" fmla="*/ 1079 w 2160"/>
                <a:gd name="T17" fmla="*/ 85 h 2353"/>
                <a:gd name="T18" fmla="*/ 1000 w 2160"/>
                <a:gd name="T19" fmla="*/ 0 h 2353"/>
                <a:gd name="T20" fmla="*/ 863 w 2160"/>
                <a:gd name="T21" fmla="*/ 51 h 2353"/>
                <a:gd name="T22" fmla="*/ 699 w 2160"/>
                <a:gd name="T23" fmla="*/ 221 h 2353"/>
                <a:gd name="T24" fmla="*/ 585 w 2160"/>
                <a:gd name="T25" fmla="*/ 403 h 2353"/>
                <a:gd name="T26" fmla="*/ 488 w 2160"/>
                <a:gd name="T27" fmla="*/ 573 h 2353"/>
                <a:gd name="T28" fmla="*/ 301 w 2160"/>
                <a:gd name="T29" fmla="*/ 721 h 2353"/>
                <a:gd name="T30" fmla="*/ 216 w 2160"/>
                <a:gd name="T31" fmla="*/ 1051 h 2353"/>
                <a:gd name="T32" fmla="*/ 216 w 2160"/>
                <a:gd name="T33" fmla="*/ 1107 h 2353"/>
                <a:gd name="T34" fmla="*/ 34 w 2160"/>
                <a:gd name="T35" fmla="*/ 1147 h 2353"/>
                <a:gd name="T36" fmla="*/ 34 w 2160"/>
                <a:gd name="T37" fmla="*/ 1221 h 2353"/>
                <a:gd name="T38" fmla="*/ 108 w 2160"/>
                <a:gd name="T39" fmla="*/ 1198 h 2353"/>
                <a:gd name="T40" fmla="*/ 62 w 2160"/>
                <a:gd name="T41" fmla="*/ 1369 h 2353"/>
                <a:gd name="T42" fmla="*/ 278 w 2160"/>
                <a:gd name="T43" fmla="*/ 1460 h 2353"/>
                <a:gd name="T44" fmla="*/ 693 w 2160"/>
                <a:gd name="T45" fmla="*/ 1710 h 2353"/>
                <a:gd name="T46" fmla="*/ 949 w 2160"/>
                <a:gd name="T47" fmla="*/ 1943 h 2353"/>
                <a:gd name="T48" fmla="*/ 789 w 2160"/>
                <a:gd name="T49" fmla="*/ 1971 h 2353"/>
                <a:gd name="T50" fmla="*/ 795 w 2160"/>
                <a:gd name="T51" fmla="*/ 2193 h 2353"/>
                <a:gd name="T52" fmla="*/ 841 w 2160"/>
                <a:gd name="T53" fmla="*/ 2198 h 2353"/>
                <a:gd name="T54" fmla="*/ 1011 w 2160"/>
                <a:gd name="T55" fmla="*/ 2244 h 2353"/>
                <a:gd name="T56" fmla="*/ 1375 w 2160"/>
                <a:gd name="T57" fmla="*/ 2204 h 2353"/>
                <a:gd name="T58" fmla="*/ 1335 w 2160"/>
                <a:gd name="T59" fmla="*/ 1954 h 2353"/>
                <a:gd name="T60" fmla="*/ 1329 w 2160"/>
                <a:gd name="T61" fmla="*/ 1789 h 2353"/>
                <a:gd name="T62" fmla="*/ 1392 w 2160"/>
                <a:gd name="T63" fmla="*/ 1539 h 2353"/>
                <a:gd name="T64" fmla="*/ 1471 w 2160"/>
                <a:gd name="T65" fmla="*/ 1335 h 2353"/>
                <a:gd name="T66" fmla="*/ 1579 w 2160"/>
                <a:gd name="T67" fmla="*/ 1227 h 2353"/>
                <a:gd name="T68" fmla="*/ 1642 w 2160"/>
                <a:gd name="T69" fmla="*/ 1113 h 2353"/>
                <a:gd name="T70" fmla="*/ 1841 w 2160"/>
                <a:gd name="T71" fmla="*/ 1022 h 2353"/>
                <a:gd name="T72" fmla="*/ 1994 w 2160"/>
                <a:gd name="T73" fmla="*/ 857 h 2353"/>
                <a:gd name="T74" fmla="*/ 2068 w 2160"/>
                <a:gd name="T75" fmla="*/ 681 h 2353"/>
                <a:gd name="T76" fmla="*/ 1636 w 2160"/>
                <a:gd name="T77" fmla="*/ 1505 h 2353"/>
                <a:gd name="T78" fmla="*/ 1602 w 2160"/>
                <a:gd name="T79" fmla="*/ 1505 h 2353"/>
                <a:gd name="T80" fmla="*/ 1642 w 2160"/>
                <a:gd name="T81" fmla="*/ 1482 h 2353"/>
                <a:gd name="T82" fmla="*/ 1738 w 2160"/>
                <a:gd name="T83" fmla="*/ 1403 h 2353"/>
                <a:gd name="T84" fmla="*/ 1676 w 2160"/>
                <a:gd name="T85" fmla="*/ 1448 h 2353"/>
                <a:gd name="T86" fmla="*/ 1738 w 2160"/>
                <a:gd name="T87" fmla="*/ 1403 h 2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60" h="2353">
                  <a:moveTo>
                    <a:pt x="2159" y="659"/>
                  </a:moveTo>
                  <a:lnTo>
                    <a:pt x="2159" y="659"/>
                  </a:lnTo>
                  <a:cubicBezTo>
                    <a:pt x="2159" y="653"/>
                    <a:pt x="2153" y="647"/>
                    <a:pt x="2153" y="642"/>
                  </a:cubicBezTo>
                  <a:cubicBezTo>
                    <a:pt x="2153" y="625"/>
                    <a:pt x="2142" y="591"/>
                    <a:pt x="2130" y="579"/>
                  </a:cubicBezTo>
                  <a:cubicBezTo>
                    <a:pt x="2108" y="562"/>
                    <a:pt x="1971" y="642"/>
                    <a:pt x="1960" y="591"/>
                  </a:cubicBezTo>
                  <a:cubicBezTo>
                    <a:pt x="1948" y="591"/>
                    <a:pt x="1920" y="568"/>
                    <a:pt x="1914" y="591"/>
                  </a:cubicBezTo>
                  <a:cubicBezTo>
                    <a:pt x="1914" y="591"/>
                    <a:pt x="1914" y="591"/>
                    <a:pt x="1909" y="591"/>
                  </a:cubicBezTo>
                  <a:cubicBezTo>
                    <a:pt x="1909" y="613"/>
                    <a:pt x="1869" y="596"/>
                    <a:pt x="1863" y="585"/>
                  </a:cubicBezTo>
                  <a:cubicBezTo>
                    <a:pt x="1858" y="579"/>
                    <a:pt x="1818" y="562"/>
                    <a:pt x="1812" y="556"/>
                  </a:cubicBezTo>
                  <a:cubicBezTo>
                    <a:pt x="1806" y="551"/>
                    <a:pt x="1812" y="528"/>
                    <a:pt x="1795" y="528"/>
                  </a:cubicBezTo>
                  <a:cubicBezTo>
                    <a:pt x="1784" y="528"/>
                    <a:pt x="1772" y="534"/>
                    <a:pt x="1761" y="528"/>
                  </a:cubicBezTo>
                  <a:cubicBezTo>
                    <a:pt x="1733" y="522"/>
                    <a:pt x="1727" y="528"/>
                    <a:pt x="1716" y="500"/>
                  </a:cubicBezTo>
                  <a:cubicBezTo>
                    <a:pt x="1716" y="494"/>
                    <a:pt x="1693" y="488"/>
                    <a:pt x="1687" y="488"/>
                  </a:cubicBezTo>
                  <a:cubicBezTo>
                    <a:pt x="1659" y="471"/>
                    <a:pt x="1676" y="494"/>
                    <a:pt x="1653" y="505"/>
                  </a:cubicBezTo>
                  <a:cubicBezTo>
                    <a:pt x="1642" y="505"/>
                    <a:pt x="1642" y="466"/>
                    <a:pt x="1613" y="466"/>
                  </a:cubicBezTo>
                  <a:cubicBezTo>
                    <a:pt x="1585" y="466"/>
                    <a:pt x="1562" y="409"/>
                    <a:pt x="1534" y="437"/>
                  </a:cubicBezTo>
                  <a:cubicBezTo>
                    <a:pt x="1511" y="460"/>
                    <a:pt x="1448" y="414"/>
                    <a:pt x="1448" y="386"/>
                  </a:cubicBezTo>
                  <a:cubicBezTo>
                    <a:pt x="1448" y="369"/>
                    <a:pt x="1471" y="329"/>
                    <a:pt x="1483" y="329"/>
                  </a:cubicBezTo>
                  <a:cubicBezTo>
                    <a:pt x="1443" y="329"/>
                    <a:pt x="1432" y="329"/>
                    <a:pt x="1409" y="363"/>
                  </a:cubicBezTo>
                  <a:cubicBezTo>
                    <a:pt x="1397" y="386"/>
                    <a:pt x="1409" y="466"/>
                    <a:pt x="1386" y="466"/>
                  </a:cubicBezTo>
                  <a:cubicBezTo>
                    <a:pt x="1346" y="466"/>
                    <a:pt x="1187" y="403"/>
                    <a:pt x="1261" y="352"/>
                  </a:cubicBezTo>
                  <a:cubicBezTo>
                    <a:pt x="1306" y="318"/>
                    <a:pt x="1312" y="301"/>
                    <a:pt x="1329" y="250"/>
                  </a:cubicBezTo>
                  <a:cubicBezTo>
                    <a:pt x="1329" y="204"/>
                    <a:pt x="1375" y="170"/>
                    <a:pt x="1358" y="113"/>
                  </a:cubicBezTo>
                  <a:cubicBezTo>
                    <a:pt x="1341" y="56"/>
                    <a:pt x="1272" y="74"/>
                    <a:pt x="1233" y="56"/>
                  </a:cubicBezTo>
                  <a:cubicBezTo>
                    <a:pt x="1204" y="39"/>
                    <a:pt x="1170" y="22"/>
                    <a:pt x="1142" y="34"/>
                  </a:cubicBezTo>
                  <a:cubicBezTo>
                    <a:pt x="1142" y="39"/>
                    <a:pt x="1136" y="51"/>
                    <a:pt x="1142" y="56"/>
                  </a:cubicBezTo>
                  <a:cubicBezTo>
                    <a:pt x="1142" y="96"/>
                    <a:pt x="1113" y="113"/>
                    <a:pt x="1079" y="85"/>
                  </a:cubicBezTo>
                  <a:cubicBezTo>
                    <a:pt x="1039" y="62"/>
                    <a:pt x="1062" y="39"/>
                    <a:pt x="1062" y="11"/>
                  </a:cubicBezTo>
                  <a:cubicBezTo>
                    <a:pt x="1062" y="11"/>
                    <a:pt x="1056" y="11"/>
                    <a:pt x="1056" y="5"/>
                  </a:cubicBezTo>
                  <a:cubicBezTo>
                    <a:pt x="1039" y="5"/>
                    <a:pt x="1022" y="0"/>
                    <a:pt x="1000" y="0"/>
                  </a:cubicBezTo>
                  <a:cubicBezTo>
                    <a:pt x="971" y="0"/>
                    <a:pt x="949" y="11"/>
                    <a:pt x="926" y="11"/>
                  </a:cubicBezTo>
                  <a:lnTo>
                    <a:pt x="926" y="11"/>
                  </a:lnTo>
                  <a:cubicBezTo>
                    <a:pt x="863" y="51"/>
                    <a:pt x="863" y="51"/>
                    <a:pt x="863" y="51"/>
                  </a:cubicBezTo>
                  <a:cubicBezTo>
                    <a:pt x="846" y="91"/>
                    <a:pt x="841" y="113"/>
                    <a:pt x="801" y="142"/>
                  </a:cubicBezTo>
                  <a:cubicBezTo>
                    <a:pt x="767" y="159"/>
                    <a:pt x="755" y="159"/>
                    <a:pt x="716" y="159"/>
                  </a:cubicBezTo>
                  <a:cubicBezTo>
                    <a:pt x="710" y="159"/>
                    <a:pt x="699" y="210"/>
                    <a:pt x="699" y="221"/>
                  </a:cubicBezTo>
                  <a:cubicBezTo>
                    <a:pt x="693" y="261"/>
                    <a:pt x="704" y="250"/>
                    <a:pt x="710" y="278"/>
                  </a:cubicBezTo>
                  <a:cubicBezTo>
                    <a:pt x="716" y="289"/>
                    <a:pt x="665" y="352"/>
                    <a:pt x="659" y="363"/>
                  </a:cubicBezTo>
                  <a:cubicBezTo>
                    <a:pt x="642" y="380"/>
                    <a:pt x="602" y="386"/>
                    <a:pt x="585" y="403"/>
                  </a:cubicBezTo>
                  <a:cubicBezTo>
                    <a:pt x="568" y="426"/>
                    <a:pt x="579" y="437"/>
                    <a:pt x="568" y="454"/>
                  </a:cubicBezTo>
                  <a:cubicBezTo>
                    <a:pt x="539" y="494"/>
                    <a:pt x="551" y="471"/>
                    <a:pt x="557" y="522"/>
                  </a:cubicBezTo>
                  <a:cubicBezTo>
                    <a:pt x="557" y="568"/>
                    <a:pt x="517" y="551"/>
                    <a:pt x="488" y="573"/>
                  </a:cubicBezTo>
                  <a:cubicBezTo>
                    <a:pt x="471" y="602"/>
                    <a:pt x="443" y="625"/>
                    <a:pt x="409" y="630"/>
                  </a:cubicBezTo>
                  <a:cubicBezTo>
                    <a:pt x="380" y="630"/>
                    <a:pt x="375" y="607"/>
                    <a:pt x="352" y="607"/>
                  </a:cubicBezTo>
                  <a:cubicBezTo>
                    <a:pt x="312" y="613"/>
                    <a:pt x="289" y="687"/>
                    <a:pt x="301" y="721"/>
                  </a:cubicBezTo>
                  <a:cubicBezTo>
                    <a:pt x="335" y="801"/>
                    <a:pt x="238" y="823"/>
                    <a:pt x="267" y="903"/>
                  </a:cubicBezTo>
                  <a:cubicBezTo>
                    <a:pt x="278" y="943"/>
                    <a:pt x="255" y="960"/>
                    <a:pt x="221" y="965"/>
                  </a:cubicBezTo>
                  <a:cubicBezTo>
                    <a:pt x="187" y="971"/>
                    <a:pt x="216" y="1022"/>
                    <a:pt x="216" y="1051"/>
                  </a:cubicBezTo>
                  <a:cubicBezTo>
                    <a:pt x="216" y="1079"/>
                    <a:pt x="221" y="1062"/>
                    <a:pt x="233" y="1056"/>
                  </a:cubicBezTo>
                  <a:cubicBezTo>
                    <a:pt x="238" y="1056"/>
                    <a:pt x="238" y="1091"/>
                    <a:pt x="238" y="1096"/>
                  </a:cubicBezTo>
                  <a:cubicBezTo>
                    <a:pt x="238" y="1113"/>
                    <a:pt x="221" y="1102"/>
                    <a:pt x="216" y="1107"/>
                  </a:cubicBezTo>
                  <a:cubicBezTo>
                    <a:pt x="204" y="1107"/>
                    <a:pt x="187" y="1125"/>
                    <a:pt x="176" y="1125"/>
                  </a:cubicBezTo>
                  <a:cubicBezTo>
                    <a:pt x="142" y="1136"/>
                    <a:pt x="142" y="1125"/>
                    <a:pt x="125" y="1102"/>
                  </a:cubicBezTo>
                  <a:cubicBezTo>
                    <a:pt x="102" y="1056"/>
                    <a:pt x="51" y="1125"/>
                    <a:pt x="34" y="1147"/>
                  </a:cubicBezTo>
                  <a:cubicBezTo>
                    <a:pt x="23" y="1153"/>
                    <a:pt x="0" y="1153"/>
                    <a:pt x="0" y="1164"/>
                  </a:cubicBezTo>
                  <a:cubicBezTo>
                    <a:pt x="0" y="1170"/>
                    <a:pt x="5" y="1204"/>
                    <a:pt x="11" y="1204"/>
                  </a:cubicBezTo>
                  <a:cubicBezTo>
                    <a:pt x="23" y="1210"/>
                    <a:pt x="34" y="1204"/>
                    <a:pt x="34" y="1221"/>
                  </a:cubicBezTo>
                  <a:cubicBezTo>
                    <a:pt x="34" y="1221"/>
                    <a:pt x="28" y="1250"/>
                    <a:pt x="39" y="1244"/>
                  </a:cubicBezTo>
                  <a:cubicBezTo>
                    <a:pt x="62" y="1227"/>
                    <a:pt x="68" y="1204"/>
                    <a:pt x="85" y="1181"/>
                  </a:cubicBezTo>
                  <a:cubicBezTo>
                    <a:pt x="91" y="1176"/>
                    <a:pt x="108" y="1193"/>
                    <a:pt x="108" y="1198"/>
                  </a:cubicBezTo>
                  <a:cubicBezTo>
                    <a:pt x="113" y="1204"/>
                    <a:pt x="113" y="1255"/>
                    <a:pt x="108" y="1267"/>
                  </a:cubicBezTo>
                  <a:cubicBezTo>
                    <a:pt x="96" y="1323"/>
                    <a:pt x="96" y="1323"/>
                    <a:pt x="96" y="1323"/>
                  </a:cubicBezTo>
                  <a:cubicBezTo>
                    <a:pt x="62" y="1369"/>
                    <a:pt x="62" y="1369"/>
                    <a:pt x="62" y="1369"/>
                  </a:cubicBezTo>
                  <a:lnTo>
                    <a:pt x="62" y="1369"/>
                  </a:lnTo>
                  <a:cubicBezTo>
                    <a:pt x="79" y="1369"/>
                    <a:pt x="96" y="1386"/>
                    <a:pt x="113" y="1392"/>
                  </a:cubicBezTo>
                  <a:cubicBezTo>
                    <a:pt x="170" y="1409"/>
                    <a:pt x="233" y="1443"/>
                    <a:pt x="278" y="1460"/>
                  </a:cubicBezTo>
                  <a:cubicBezTo>
                    <a:pt x="324" y="1482"/>
                    <a:pt x="466" y="1465"/>
                    <a:pt x="477" y="1522"/>
                  </a:cubicBezTo>
                  <a:cubicBezTo>
                    <a:pt x="505" y="1613"/>
                    <a:pt x="528" y="1573"/>
                    <a:pt x="608" y="1602"/>
                  </a:cubicBezTo>
                  <a:cubicBezTo>
                    <a:pt x="647" y="1619"/>
                    <a:pt x="670" y="1681"/>
                    <a:pt x="693" y="1710"/>
                  </a:cubicBezTo>
                  <a:cubicBezTo>
                    <a:pt x="750" y="1772"/>
                    <a:pt x="846" y="1795"/>
                    <a:pt x="920" y="1835"/>
                  </a:cubicBezTo>
                  <a:cubicBezTo>
                    <a:pt x="932" y="1840"/>
                    <a:pt x="954" y="1857"/>
                    <a:pt x="983" y="1874"/>
                  </a:cubicBezTo>
                  <a:cubicBezTo>
                    <a:pt x="949" y="1943"/>
                    <a:pt x="949" y="1943"/>
                    <a:pt x="949" y="1943"/>
                  </a:cubicBezTo>
                  <a:cubicBezTo>
                    <a:pt x="949" y="1977"/>
                    <a:pt x="926" y="1948"/>
                    <a:pt x="909" y="1943"/>
                  </a:cubicBezTo>
                  <a:cubicBezTo>
                    <a:pt x="886" y="1931"/>
                    <a:pt x="880" y="1954"/>
                    <a:pt x="863" y="1948"/>
                  </a:cubicBezTo>
                  <a:cubicBezTo>
                    <a:pt x="807" y="1909"/>
                    <a:pt x="824" y="1943"/>
                    <a:pt x="789" y="1971"/>
                  </a:cubicBezTo>
                  <a:cubicBezTo>
                    <a:pt x="761" y="2000"/>
                    <a:pt x="699" y="2062"/>
                    <a:pt x="710" y="2102"/>
                  </a:cubicBezTo>
                  <a:cubicBezTo>
                    <a:pt x="716" y="2130"/>
                    <a:pt x="721" y="2142"/>
                    <a:pt x="744" y="2153"/>
                  </a:cubicBezTo>
                  <a:cubicBezTo>
                    <a:pt x="773" y="2164"/>
                    <a:pt x="789" y="2159"/>
                    <a:pt x="795" y="2193"/>
                  </a:cubicBezTo>
                  <a:lnTo>
                    <a:pt x="795" y="2193"/>
                  </a:lnTo>
                  <a:cubicBezTo>
                    <a:pt x="807" y="2193"/>
                    <a:pt x="812" y="2193"/>
                    <a:pt x="824" y="2193"/>
                  </a:cubicBezTo>
                  <a:cubicBezTo>
                    <a:pt x="829" y="2193"/>
                    <a:pt x="835" y="2193"/>
                    <a:pt x="841" y="2198"/>
                  </a:cubicBezTo>
                  <a:cubicBezTo>
                    <a:pt x="852" y="2210"/>
                    <a:pt x="863" y="2198"/>
                    <a:pt x="880" y="2198"/>
                  </a:cubicBezTo>
                  <a:cubicBezTo>
                    <a:pt x="892" y="2198"/>
                    <a:pt x="897" y="2204"/>
                    <a:pt x="903" y="2215"/>
                  </a:cubicBezTo>
                  <a:cubicBezTo>
                    <a:pt x="926" y="2272"/>
                    <a:pt x="971" y="2244"/>
                    <a:pt x="1011" y="2244"/>
                  </a:cubicBezTo>
                  <a:cubicBezTo>
                    <a:pt x="1068" y="2244"/>
                    <a:pt x="1102" y="2352"/>
                    <a:pt x="1170" y="2323"/>
                  </a:cubicBezTo>
                  <a:cubicBezTo>
                    <a:pt x="1221" y="2306"/>
                    <a:pt x="1255" y="2295"/>
                    <a:pt x="1312" y="2295"/>
                  </a:cubicBezTo>
                  <a:cubicBezTo>
                    <a:pt x="1358" y="2295"/>
                    <a:pt x="1363" y="2244"/>
                    <a:pt x="1375" y="2204"/>
                  </a:cubicBezTo>
                  <a:cubicBezTo>
                    <a:pt x="1380" y="2193"/>
                    <a:pt x="1471" y="2068"/>
                    <a:pt x="1432" y="2073"/>
                  </a:cubicBezTo>
                  <a:cubicBezTo>
                    <a:pt x="1380" y="2079"/>
                    <a:pt x="1409" y="2045"/>
                    <a:pt x="1380" y="2022"/>
                  </a:cubicBezTo>
                  <a:cubicBezTo>
                    <a:pt x="1363" y="2011"/>
                    <a:pt x="1329" y="1977"/>
                    <a:pt x="1335" y="1954"/>
                  </a:cubicBezTo>
                  <a:cubicBezTo>
                    <a:pt x="1335" y="1926"/>
                    <a:pt x="1352" y="1897"/>
                    <a:pt x="1341" y="1874"/>
                  </a:cubicBezTo>
                  <a:cubicBezTo>
                    <a:pt x="1335" y="1857"/>
                    <a:pt x="1318" y="1846"/>
                    <a:pt x="1318" y="1829"/>
                  </a:cubicBezTo>
                  <a:cubicBezTo>
                    <a:pt x="1312" y="1823"/>
                    <a:pt x="1329" y="1801"/>
                    <a:pt x="1329" y="1789"/>
                  </a:cubicBezTo>
                  <a:cubicBezTo>
                    <a:pt x="1346" y="1750"/>
                    <a:pt x="1335" y="1721"/>
                    <a:pt x="1358" y="1681"/>
                  </a:cubicBezTo>
                  <a:cubicBezTo>
                    <a:pt x="1363" y="1670"/>
                    <a:pt x="1443" y="1579"/>
                    <a:pt x="1414" y="1573"/>
                  </a:cubicBezTo>
                  <a:cubicBezTo>
                    <a:pt x="1386" y="1573"/>
                    <a:pt x="1380" y="1556"/>
                    <a:pt x="1392" y="1539"/>
                  </a:cubicBezTo>
                  <a:cubicBezTo>
                    <a:pt x="1409" y="1516"/>
                    <a:pt x="1409" y="1482"/>
                    <a:pt x="1426" y="1465"/>
                  </a:cubicBezTo>
                  <a:cubicBezTo>
                    <a:pt x="1443" y="1437"/>
                    <a:pt x="1483" y="1437"/>
                    <a:pt x="1483" y="1397"/>
                  </a:cubicBezTo>
                  <a:cubicBezTo>
                    <a:pt x="1483" y="1380"/>
                    <a:pt x="1466" y="1352"/>
                    <a:pt x="1471" y="1335"/>
                  </a:cubicBezTo>
                  <a:cubicBezTo>
                    <a:pt x="1477" y="1318"/>
                    <a:pt x="1483" y="1278"/>
                    <a:pt x="1488" y="1267"/>
                  </a:cubicBezTo>
                  <a:cubicBezTo>
                    <a:pt x="1500" y="1255"/>
                    <a:pt x="1545" y="1312"/>
                    <a:pt x="1574" y="1267"/>
                  </a:cubicBezTo>
                  <a:cubicBezTo>
                    <a:pt x="1579" y="1255"/>
                    <a:pt x="1568" y="1244"/>
                    <a:pt x="1579" y="1227"/>
                  </a:cubicBezTo>
                  <a:cubicBezTo>
                    <a:pt x="1596" y="1210"/>
                    <a:pt x="1625" y="1210"/>
                    <a:pt x="1602" y="1181"/>
                  </a:cubicBezTo>
                  <a:cubicBezTo>
                    <a:pt x="1591" y="1159"/>
                    <a:pt x="1613" y="1164"/>
                    <a:pt x="1625" y="1164"/>
                  </a:cubicBezTo>
                  <a:cubicBezTo>
                    <a:pt x="1636" y="1170"/>
                    <a:pt x="1630" y="1125"/>
                    <a:pt x="1642" y="1113"/>
                  </a:cubicBezTo>
                  <a:cubicBezTo>
                    <a:pt x="1664" y="1102"/>
                    <a:pt x="1710" y="1119"/>
                    <a:pt x="1733" y="1113"/>
                  </a:cubicBezTo>
                  <a:cubicBezTo>
                    <a:pt x="1789" y="1136"/>
                    <a:pt x="1772" y="1079"/>
                    <a:pt x="1784" y="1051"/>
                  </a:cubicBezTo>
                  <a:cubicBezTo>
                    <a:pt x="1795" y="1005"/>
                    <a:pt x="1801" y="1028"/>
                    <a:pt x="1841" y="1022"/>
                  </a:cubicBezTo>
                  <a:cubicBezTo>
                    <a:pt x="1880" y="1017"/>
                    <a:pt x="1903" y="965"/>
                    <a:pt x="1932" y="948"/>
                  </a:cubicBezTo>
                  <a:cubicBezTo>
                    <a:pt x="1954" y="937"/>
                    <a:pt x="1977" y="926"/>
                    <a:pt x="1994" y="914"/>
                  </a:cubicBezTo>
                  <a:cubicBezTo>
                    <a:pt x="2034" y="886"/>
                    <a:pt x="1994" y="886"/>
                    <a:pt x="1994" y="857"/>
                  </a:cubicBezTo>
                  <a:cubicBezTo>
                    <a:pt x="2005" y="846"/>
                    <a:pt x="1988" y="812"/>
                    <a:pt x="2000" y="795"/>
                  </a:cubicBezTo>
                  <a:cubicBezTo>
                    <a:pt x="2011" y="784"/>
                    <a:pt x="2022" y="772"/>
                    <a:pt x="2028" y="755"/>
                  </a:cubicBezTo>
                  <a:cubicBezTo>
                    <a:pt x="2045" y="733"/>
                    <a:pt x="2045" y="698"/>
                    <a:pt x="2068" y="681"/>
                  </a:cubicBezTo>
                  <a:cubicBezTo>
                    <a:pt x="2091" y="659"/>
                    <a:pt x="2125" y="659"/>
                    <a:pt x="2159" y="659"/>
                  </a:cubicBezTo>
                  <a:close/>
                  <a:moveTo>
                    <a:pt x="1636" y="1505"/>
                  </a:moveTo>
                  <a:lnTo>
                    <a:pt x="1636" y="1505"/>
                  </a:lnTo>
                  <a:cubicBezTo>
                    <a:pt x="1625" y="1511"/>
                    <a:pt x="1625" y="1511"/>
                    <a:pt x="1625" y="1511"/>
                  </a:cubicBezTo>
                  <a:cubicBezTo>
                    <a:pt x="1619" y="1516"/>
                    <a:pt x="1608" y="1528"/>
                    <a:pt x="1596" y="1522"/>
                  </a:cubicBezTo>
                  <a:cubicBezTo>
                    <a:pt x="1596" y="1522"/>
                    <a:pt x="1596" y="1511"/>
                    <a:pt x="1602" y="1505"/>
                  </a:cubicBezTo>
                  <a:cubicBezTo>
                    <a:pt x="1608" y="1494"/>
                    <a:pt x="1608" y="1477"/>
                    <a:pt x="1619" y="1465"/>
                  </a:cubicBezTo>
                  <a:cubicBezTo>
                    <a:pt x="1625" y="1460"/>
                    <a:pt x="1642" y="1443"/>
                    <a:pt x="1642" y="1460"/>
                  </a:cubicBezTo>
                  <a:cubicBezTo>
                    <a:pt x="1642" y="1471"/>
                    <a:pt x="1642" y="1477"/>
                    <a:pt x="1642" y="1482"/>
                  </a:cubicBezTo>
                  <a:cubicBezTo>
                    <a:pt x="1636" y="1488"/>
                    <a:pt x="1636" y="1494"/>
                    <a:pt x="1636" y="1505"/>
                  </a:cubicBezTo>
                  <a:close/>
                  <a:moveTo>
                    <a:pt x="1738" y="1403"/>
                  </a:moveTo>
                  <a:lnTo>
                    <a:pt x="1738" y="1403"/>
                  </a:lnTo>
                  <a:cubicBezTo>
                    <a:pt x="1738" y="1414"/>
                    <a:pt x="1738" y="1414"/>
                    <a:pt x="1738" y="1414"/>
                  </a:cubicBezTo>
                  <a:cubicBezTo>
                    <a:pt x="1738" y="1437"/>
                    <a:pt x="1784" y="1460"/>
                    <a:pt x="1744" y="1460"/>
                  </a:cubicBezTo>
                  <a:cubicBezTo>
                    <a:pt x="1721" y="1460"/>
                    <a:pt x="1687" y="1465"/>
                    <a:pt x="1676" y="1448"/>
                  </a:cubicBezTo>
                  <a:cubicBezTo>
                    <a:pt x="1664" y="1431"/>
                    <a:pt x="1682" y="1414"/>
                    <a:pt x="1687" y="1403"/>
                  </a:cubicBezTo>
                  <a:cubicBezTo>
                    <a:pt x="1687" y="1397"/>
                    <a:pt x="1687" y="1392"/>
                    <a:pt x="1693" y="1386"/>
                  </a:cubicBezTo>
                  <a:cubicBezTo>
                    <a:pt x="1710" y="1357"/>
                    <a:pt x="1721" y="1403"/>
                    <a:pt x="1738" y="140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" name="Freeform 153"/>
            <p:cNvSpPr>
              <a:spLocks noChangeArrowheads="1"/>
            </p:cNvSpPr>
            <p:nvPr/>
          </p:nvSpPr>
          <p:spPr bwMode="auto">
            <a:xfrm>
              <a:off x="16693803" y="3403599"/>
              <a:ext cx="1454958" cy="1168314"/>
            </a:xfrm>
            <a:custGeom>
              <a:avLst/>
              <a:gdLst>
                <a:gd name="T0" fmla="*/ 96 w 2103"/>
                <a:gd name="T1" fmla="*/ 517 h 1689"/>
                <a:gd name="T2" fmla="*/ 272 w 2103"/>
                <a:gd name="T3" fmla="*/ 478 h 1689"/>
                <a:gd name="T4" fmla="*/ 363 w 2103"/>
                <a:gd name="T5" fmla="*/ 489 h 1689"/>
                <a:gd name="T6" fmla="*/ 363 w 2103"/>
                <a:gd name="T7" fmla="*/ 642 h 1689"/>
                <a:gd name="T8" fmla="*/ 460 w 2103"/>
                <a:gd name="T9" fmla="*/ 756 h 1689"/>
                <a:gd name="T10" fmla="*/ 562 w 2103"/>
                <a:gd name="T11" fmla="*/ 852 h 1689"/>
                <a:gd name="T12" fmla="*/ 369 w 2103"/>
                <a:gd name="T13" fmla="*/ 926 h 1689"/>
                <a:gd name="T14" fmla="*/ 255 w 2103"/>
                <a:gd name="T15" fmla="*/ 875 h 1689"/>
                <a:gd name="T16" fmla="*/ 255 w 2103"/>
                <a:gd name="T17" fmla="*/ 1051 h 1689"/>
                <a:gd name="T18" fmla="*/ 375 w 2103"/>
                <a:gd name="T19" fmla="*/ 989 h 1689"/>
                <a:gd name="T20" fmla="*/ 352 w 2103"/>
                <a:gd name="T21" fmla="*/ 1091 h 1689"/>
                <a:gd name="T22" fmla="*/ 471 w 2103"/>
                <a:gd name="T23" fmla="*/ 1159 h 1689"/>
                <a:gd name="T24" fmla="*/ 681 w 2103"/>
                <a:gd name="T25" fmla="*/ 1318 h 1689"/>
                <a:gd name="T26" fmla="*/ 710 w 2103"/>
                <a:gd name="T27" fmla="*/ 1375 h 1689"/>
                <a:gd name="T28" fmla="*/ 755 w 2103"/>
                <a:gd name="T29" fmla="*/ 1489 h 1689"/>
                <a:gd name="T30" fmla="*/ 926 w 2103"/>
                <a:gd name="T31" fmla="*/ 1460 h 1689"/>
                <a:gd name="T32" fmla="*/ 1028 w 2103"/>
                <a:gd name="T33" fmla="*/ 1608 h 1689"/>
                <a:gd name="T34" fmla="*/ 1238 w 2103"/>
                <a:gd name="T35" fmla="*/ 1614 h 1689"/>
                <a:gd name="T36" fmla="*/ 1284 w 2103"/>
                <a:gd name="T37" fmla="*/ 1443 h 1689"/>
                <a:gd name="T38" fmla="*/ 1210 w 2103"/>
                <a:gd name="T39" fmla="*/ 1466 h 1689"/>
                <a:gd name="T40" fmla="*/ 1210 w 2103"/>
                <a:gd name="T41" fmla="*/ 1392 h 1689"/>
                <a:gd name="T42" fmla="*/ 1392 w 2103"/>
                <a:gd name="T43" fmla="*/ 1352 h 1689"/>
                <a:gd name="T44" fmla="*/ 1392 w 2103"/>
                <a:gd name="T45" fmla="*/ 1296 h 1689"/>
                <a:gd name="T46" fmla="*/ 1477 w 2103"/>
                <a:gd name="T47" fmla="*/ 966 h 1689"/>
                <a:gd name="T48" fmla="*/ 1664 w 2103"/>
                <a:gd name="T49" fmla="*/ 818 h 1689"/>
                <a:gd name="T50" fmla="*/ 1761 w 2103"/>
                <a:gd name="T51" fmla="*/ 648 h 1689"/>
                <a:gd name="T52" fmla="*/ 1875 w 2103"/>
                <a:gd name="T53" fmla="*/ 466 h 1689"/>
                <a:gd name="T54" fmla="*/ 2039 w 2103"/>
                <a:gd name="T55" fmla="*/ 296 h 1689"/>
                <a:gd name="T56" fmla="*/ 2079 w 2103"/>
                <a:gd name="T57" fmla="*/ 199 h 1689"/>
                <a:gd name="T58" fmla="*/ 2028 w 2103"/>
                <a:gd name="T59" fmla="*/ 120 h 1689"/>
                <a:gd name="T60" fmla="*/ 1608 w 2103"/>
                <a:gd name="T61" fmla="*/ 273 h 1689"/>
                <a:gd name="T62" fmla="*/ 1261 w 2103"/>
                <a:gd name="T63" fmla="*/ 216 h 1689"/>
                <a:gd name="T64" fmla="*/ 943 w 2103"/>
                <a:gd name="T65" fmla="*/ 74 h 1689"/>
                <a:gd name="T66" fmla="*/ 699 w 2103"/>
                <a:gd name="T67" fmla="*/ 40 h 1689"/>
                <a:gd name="T68" fmla="*/ 522 w 2103"/>
                <a:gd name="T69" fmla="*/ 216 h 1689"/>
                <a:gd name="T70" fmla="*/ 369 w 2103"/>
                <a:gd name="T71" fmla="*/ 165 h 1689"/>
                <a:gd name="T72" fmla="*/ 312 w 2103"/>
                <a:gd name="T73" fmla="*/ 273 h 1689"/>
                <a:gd name="T74" fmla="*/ 255 w 2103"/>
                <a:gd name="T75" fmla="*/ 250 h 1689"/>
                <a:gd name="T76" fmla="*/ 108 w 2103"/>
                <a:gd name="T77" fmla="*/ 307 h 1689"/>
                <a:gd name="T78" fmla="*/ 5 w 2103"/>
                <a:gd name="T79" fmla="*/ 375 h 1689"/>
                <a:gd name="T80" fmla="*/ 34 w 2103"/>
                <a:gd name="T81" fmla="*/ 540 h 1689"/>
                <a:gd name="T82" fmla="*/ 221 w 2103"/>
                <a:gd name="T83" fmla="*/ 398 h 1689"/>
                <a:gd name="T84" fmla="*/ 182 w 2103"/>
                <a:gd name="T85" fmla="*/ 336 h 1689"/>
                <a:gd name="T86" fmla="*/ 244 w 2103"/>
                <a:gd name="T87" fmla="*/ 341 h 1689"/>
                <a:gd name="T88" fmla="*/ 1062 w 2103"/>
                <a:gd name="T89" fmla="*/ 1239 h 1689"/>
                <a:gd name="T90" fmla="*/ 1102 w 2103"/>
                <a:gd name="T91" fmla="*/ 1313 h 1689"/>
                <a:gd name="T92" fmla="*/ 1085 w 2103"/>
                <a:gd name="T93" fmla="*/ 1347 h 1689"/>
                <a:gd name="T94" fmla="*/ 841 w 2103"/>
                <a:gd name="T95" fmla="*/ 1313 h 1689"/>
                <a:gd name="T96" fmla="*/ 767 w 2103"/>
                <a:gd name="T97" fmla="*/ 1108 h 1689"/>
                <a:gd name="T98" fmla="*/ 1056 w 2103"/>
                <a:gd name="T99" fmla="*/ 1176 h 1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03" h="1689">
                  <a:moveTo>
                    <a:pt x="34" y="540"/>
                  </a:moveTo>
                  <a:lnTo>
                    <a:pt x="34" y="540"/>
                  </a:lnTo>
                  <a:cubicBezTo>
                    <a:pt x="96" y="517"/>
                    <a:pt x="96" y="517"/>
                    <a:pt x="96" y="517"/>
                  </a:cubicBezTo>
                  <a:cubicBezTo>
                    <a:pt x="119" y="512"/>
                    <a:pt x="147" y="483"/>
                    <a:pt x="170" y="472"/>
                  </a:cubicBezTo>
                  <a:cubicBezTo>
                    <a:pt x="187" y="466"/>
                    <a:pt x="193" y="438"/>
                    <a:pt x="216" y="432"/>
                  </a:cubicBezTo>
                  <a:cubicBezTo>
                    <a:pt x="233" y="421"/>
                    <a:pt x="255" y="466"/>
                    <a:pt x="272" y="478"/>
                  </a:cubicBezTo>
                  <a:cubicBezTo>
                    <a:pt x="301" y="489"/>
                    <a:pt x="335" y="478"/>
                    <a:pt x="363" y="478"/>
                  </a:cubicBezTo>
                  <a:cubicBezTo>
                    <a:pt x="363" y="478"/>
                    <a:pt x="363" y="478"/>
                    <a:pt x="369" y="478"/>
                  </a:cubicBezTo>
                  <a:cubicBezTo>
                    <a:pt x="369" y="483"/>
                    <a:pt x="369" y="489"/>
                    <a:pt x="363" y="489"/>
                  </a:cubicBezTo>
                  <a:cubicBezTo>
                    <a:pt x="363" y="506"/>
                    <a:pt x="324" y="540"/>
                    <a:pt x="324" y="563"/>
                  </a:cubicBezTo>
                  <a:cubicBezTo>
                    <a:pt x="324" y="591"/>
                    <a:pt x="369" y="591"/>
                    <a:pt x="392" y="597"/>
                  </a:cubicBezTo>
                  <a:cubicBezTo>
                    <a:pt x="392" y="614"/>
                    <a:pt x="363" y="620"/>
                    <a:pt x="363" y="642"/>
                  </a:cubicBezTo>
                  <a:cubicBezTo>
                    <a:pt x="380" y="688"/>
                    <a:pt x="380" y="711"/>
                    <a:pt x="335" y="722"/>
                  </a:cubicBezTo>
                  <a:cubicBezTo>
                    <a:pt x="335" y="745"/>
                    <a:pt x="397" y="750"/>
                    <a:pt x="409" y="756"/>
                  </a:cubicBezTo>
                  <a:cubicBezTo>
                    <a:pt x="432" y="767"/>
                    <a:pt x="432" y="767"/>
                    <a:pt x="460" y="756"/>
                  </a:cubicBezTo>
                  <a:cubicBezTo>
                    <a:pt x="477" y="756"/>
                    <a:pt x="488" y="796"/>
                    <a:pt x="494" y="813"/>
                  </a:cubicBezTo>
                  <a:cubicBezTo>
                    <a:pt x="500" y="824"/>
                    <a:pt x="511" y="830"/>
                    <a:pt x="522" y="836"/>
                  </a:cubicBezTo>
                  <a:cubicBezTo>
                    <a:pt x="528" y="841"/>
                    <a:pt x="562" y="847"/>
                    <a:pt x="562" y="852"/>
                  </a:cubicBezTo>
                  <a:cubicBezTo>
                    <a:pt x="579" y="858"/>
                    <a:pt x="528" y="904"/>
                    <a:pt x="522" y="909"/>
                  </a:cubicBezTo>
                  <a:cubicBezTo>
                    <a:pt x="522" y="921"/>
                    <a:pt x="437" y="966"/>
                    <a:pt x="426" y="960"/>
                  </a:cubicBezTo>
                  <a:cubicBezTo>
                    <a:pt x="409" y="955"/>
                    <a:pt x="380" y="938"/>
                    <a:pt x="369" y="926"/>
                  </a:cubicBezTo>
                  <a:cubicBezTo>
                    <a:pt x="358" y="909"/>
                    <a:pt x="369" y="887"/>
                    <a:pt x="363" y="870"/>
                  </a:cubicBezTo>
                  <a:cubicBezTo>
                    <a:pt x="341" y="864"/>
                    <a:pt x="312" y="858"/>
                    <a:pt x="295" y="858"/>
                  </a:cubicBezTo>
                  <a:cubicBezTo>
                    <a:pt x="267" y="852"/>
                    <a:pt x="267" y="847"/>
                    <a:pt x="255" y="875"/>
                  </a:cubicBezTo>
                  <a:cubicBezTo>
                    <a:pt x="250" y="887"/>
                    <a:pt x="244" y="904"/>
                    <a:pt x="227" y="921"/>
                  </a:cubicBezTo>
                  <a:cubicBezTo>
                    <a:pt x="199" y="949"/>
                    <a:pt x="193" y="960"/>
                    <a:pt x="227" y="995"/>
                  </a:cubicBezTo>
                  <a:cubicBezTo>
                    <a:pt x="244" y="1012"/>
                    <a:pt x="244" y="1029"/>
                    <a:pt x="255" y="1051"/>
                  </a:cubicBezTo>
                  <a:cubicBezTo>
                    <a:pt x="272" y="1068"/>
                    <a:pt x="295" y="1046"/>
                    <a:pt x="306" y="1034"/>
                  </a:cubicBezTo>
                  <a:cubicBezTo>
                    <a:pt x="318" y="1023"/>
                    <a:pt x="329" y="1023"/>
                    <a:pt x="341" y="1017"/>
                  </a:cubicBezTo>
                  <a:cubicBezTo>
                    <a:pt x="352" y="1006"/>
                    <a:pt x="358" y="989"/>
                    <a:pt x="375" y="989"/>
                  </a:cubicBezTo>
                  <a:cubicBezTo>
                    <a:pt x="409" y="995"/>
                    <a:pt x="409" y="995"/>
                    <a:pt x="409" y="995"/>
                  </a:cubicBezTo>
                  <a:cubicBezTo>
                    <a:pt x="409" y="1000"/>
                    <a:pt x="409" y="1000"/>
                    <a:pt x="409" y="1000"/>
                  </a:cubicBezTo>
                  <a:cubicBezTo>
                    <a:pt x="392" y="1023"/>
                    <a:pt x="352" y="1063"/>
                    <a:pt x="352" y="1091"/>
                  </a:cubicBezTo>
                  <a:cubicBezTo>
                    <a:pt x="363" y="1102"/>
                    <a:pt x="380" y="1097"/>
                    <a:pt x="386" y="1114"/>
                  </a:cubicBezTo>
                  <a:cubicBezTo>
                    <a:pt x="380" y="1154"/>
                    <a:pt x="380" y="1154"/>
                    <a:pt x="380" y="1154"/>
                  </a:cubicBezTo>
                  <a:cubicBezTo>
                    <a:pt x="426" y="1154"/>
                    <a:pt x="471" y="1154"/>
                    <a:pt x="471" y="1159"/>
                  </a:cubicBezTo>
                  <a:cubicBezTo>
                    <a:pt x="488" y="1171"/>
                    <a:pt x="517" y="1210"/>
                    <a:pt x="556" y="1239"/>
                  </a:cubicBezTo>
                  <a:cubicBezTo>
                    <a:pt x="602" y="1262"/>
                    <a:pt x="653" y="1273"/>
                    <a:pt x="659" y="1279"/>
                  </a:cubicBezTo>
                  <a:cubicBezTo>
                    <a:pt x="664" y="1284"/>
                    <a:pt x="681" y="1318"/>
                    <a:pt x="681" y="1318"/>
                  </a:cubicBezTo>
                  <a:cubicBezTo>
                    <a:pt x="699" y="1352"/>
                    <a:pt x="699" y="1352"/>
                    <a:pt x="699" y="1352"/>
                  </a:cubicBezTo>
                  <a:cubicBezTo>
                    <a:pt x="710" y="1375"/>
                    <a:pt x="710" y="1375"/>
                    <a:pt x="710" y="1375"/>
                  </a:cubicBezTo>
                  <a:lnTo>
                    <a:pt x="710" y="1375"/>
                  </a:lnTo>
                  <a:cubicBezTo>
                    <a:pt x="738" y="1387"/>
                    <a:pt x="738" y="1387"/>
                    <a:pt x="738" y="1387"/>
                  </a:cubicBezTo>
                  <a:cubicBezTo>
                    <a:pt x="738" y="1404"/>
                    <a:pt x="733" y="1421"/>
                    <a:pt x="761" y="1421"/>
                  </a:cubicBezTo>
                  <a:cubicBezTo>
                    <a:pt x="761" y="1449"/>
                    <a:pt x="738" y="1472"/>
                    <a:pt x="755" y="1489"/>
                  </a:cubicBezTo>
                  <a:cubicBezTo>
                    <a:pt x="778" y="1512"/>
                    <a:pt x="829" y="1455"/>
                    <a:pt x="829" y="1432"/>
                  </a:cubicBezTo>
                  <a:cubicBezTo>
                    <a:pt x="835" y="1404"/>
                    <a:pt x="858" y="1392"/>
                    <a:pt x="880" y="1421"/>
                  </a:cubicBezTo>
                  <a:cubicBezTo>
                    <a:pt x="892" y="1432"/>
                    <a:pt x="926" y="1432"/>
                    <a:pt x="926" y="1460"/>
                  </a:cubicBezTo>
                  <a:cubicBezTo>
                    <a:pt x="926" y="1523"/>
                    <a:pt x="926" y="1523"/>
                    <a:pt x="926" y="1523"/>
                  </a:cubicBezTo>
                  <a:cubicBezTo>
                    <a:pt x="926" y="1563"/>
                    <a:pt x="960" y="1574"/>
                    <a:pt x="977" y="1614"/>
                  </a:cubicBezTo>
                  <a:cubicBezTo>
                    <a:pt x="988" y="1637"/>
                    <a:pt x="1005" y="1591"/>
                    <a:pt x="1028" y="1608"/>
                  </a:cubicBezTo>
                  <a:cubicBezTo>
                    <a:pt x="1068" y="1637"/>
                    <a:pt x="1051" y="1688"/>
                    <a:pt x="1102" y="1614"/>
                  </a:cubicBezTo>
                  <a:cubicBezTo>
                    <a:pt x="1147" y="1546"/>
                    <a:pt x="1187" y="1631"/>
                    <a:pt x="1238" y="1614"/>
                  </a:cubicBezTo>
                  <a:lnTo>
                    <a:pt x="1238" y="1614"/>
                  </a:lnTo>
                  <a:cubicBezTo>
                    <a:pt x="1272" y="1568"/>
                    <a:pt x="1272" y="1568"/>
                    <a:pt x="1272" y="1568"/>
                  </a:cubicBezTo>
                  <a:cubicBezTo>
                    <a:pt x="1284" y="1512"/>
                    <a:pt x="1284" y="1512"/>
                    <a:pt x="1284" y="1512"/>
                  </a:cubicBezTo>
                  <a:cubicBezTo>
                    <a:pt x="1289" y="1500"/>
                    <a:pt x="1289" y="1449"/>
                    <a:pt x="1284" y="1443"/>
                  </a:cubicBezTo>
                  <a:cubicBezTo>
                    <a:pt x="1284" y="1438"/>
                    <a:pt x="1267" y="1421"/>
                    <a:pt x="1261" y="1426"/>
                  </a:cubicBezTo>
                  <a:cubicBezTo>
                    <a:pt x="1244" y="1449"/>
                    <a:pt x="1238" y="1472"/>
                    <a:pt x="1215" y="1489"/>
                  </a:cubicBezTo>
                  <a:cubicBezTo>
                    <a:pt x="1204" y="1495"/>
                    <a:pt x="1210" y="1466"/>
                    <a:pt x="1210" y="1466"/>
                  </a:cubicBezTo>
                  <a:cubicBezTo>
                    <a:pt x="1210" y="1449"/>
                    <a:pt x="1199" y="1455"/>
                    <a:pt x="1187" y="1449"/>
                  </a:cubicBezTo>
                  <a:cubicBezTo>
                    <a:pt x="1181" y="1449"/>
                    <a:pt x="1176" y="1415"/>
                    <a:pt x="1176" y="1409"/>
                  </a:cubicBezTo>
                  <a:cubicBezTo>
                    <a:pt x="1176" y="1398"/>
                    <a:pt x="1199" y="1398"/>
                    <a:pt x="1210" y="1392"/>
                  </a:cubicBezTo>
                  <a:cubicBezTo>
                    <a:pt x="1227" y="1370"/>
                    <a:pt x="1278" y="1301"/>
                    <a:pt x="1301" y="1347"/>
                  </a:cubicBezTo>
                  <a:cubicBezTo>
                    <a:pt x="1318" y="1370"/>
                    <a:pt x="1318" y="1381"/>
                    <a:pt x="1352" y="1370"/>
                  </a:cubicBezTo>
                  <a:cubicBezTo>
                    <a:pt x="1363" y="1370"/>
                    <a:pt x="1380" y="1352"/>
                    <a:pt x="1392" y="1352"/>
                  </a:cubicBezTo>
                  <a:cubicBezTo>
                    <a:pt x="1397" y="1347"/>
                    <a:pt x="1414" y="1358"/>
                    <a:pt x="1414" y="1341"/>
                  </a:cubicBezTo>
                  <a:cubicBezTo>
                    <a:pt x="1414" y="1336"/>
                    <a:pt x="1414" y="1301"/>
                    <a:pt x="1409" y="1301"/>
                  </a:cubicBezTo>
                  <a:cubicBezTo>
                    <a:pt x="1397" y="1307"/>
                    <a:pt x="1392" y="1324"/>
                    <a:pt x="1392" y="1296"/>
                  </a:cubicBezTo>
                  <a:cubicBezTo>
                    <a:pt x="1392" y="1267"/>
                    <a:pt x="1363" y="1216"/>
                    <a:pt x="1397" y="1210"/>
                  </a:cubicBezTo>
                  <a:cubicBezTo>
                    <a:pt x="1431" y="1205"/>
                    <a:pt x="1454" y="1188"/>
                    <a:pt x="1443" y="1148"/>
                  </a:cubicBezTo>
                  <a:cubicBezTo>
                    <a:pt x="1414" y="1068"/>
                    <a:pt x="1511" y="1046"/>
                    <a:pt x="1477" y="966"/>
                  </a:cubicBezTo>
                  <a:cubicBezTo>
                    <a:pt x="1465" y="932"/>
                    <a:pt x="1488" y="858"/>
                    <a:pt x="1528" y="852"/>
                  </a:cubicBezTo>
                  <a:cubicBezTo>
                    <a:pt x="1551" y="852"/>
                    <a:pt x="1556" y="875"/>
                    <a:pt x="1585" y="875"/>
                  </a:cubicBezTo>
                  <a:cubicBezTo>
                    <a:pt x="1619" y="870"/>
                    <a:pt x="1647" y="847"/>
                    <a:pt x="1664" y="818"/>
                  </a:cubicBezTo>
                  <a:cubicBezTo>
                    <a:pt x="1693" y="796"/>
                    <a:pt x="1733" y="813"/>
                    <a:pt x="1733" y="767"/>
                  </a:cubicBezTo>
                  <a:cubicBezTo>
                    <a:pt x="1727" y="716"/>
                    <a:pt x="1715" y="739"/>
                    <a:pt x="1744" y="699"/>
                  </a:cubicBezTo>
                  <a:cubicBezTo>
                    <a:pt x="1755" y="682"/>
                    <a:pt x="1744" y="671"/>
                    <a:pt x="1761" y="648"/>
                  </a:cubicBezTo>
                  <a:cubicBezTo>
                    <a:pt x="1778" y="631"/>
                    <a:pt x="1818" y="625"/>
                    <a:pt x="1835" y="608"/>
                  </a:cubicBezTo>
                  <a:cubicBezTo>
                    <a:pt x="1841" y="597"/>
                    <a:pt x="1892" y="534"/>
                    <a:pt x="1886" y="523"/>
                  </a:cubicBezTo>
                  <a:cubicBezTo>
                    <a:pt x="1880" y="495"/>
                    <a:pt x="1869" y="506"/>
                    <a:pt x="1875" y="466"/>
                  </a:cubicBezTo>
                  <a:cubicBezTo>
                    <a:pt x="1875" y="455"/>
                    <a:pt x="1886" y="404"/>
                    <a:pt x="1892" y="404"/>
                  </a:cubicBezTo>
                  <a:cubicBezTo>
                    <a:pt x="1931" y="404"/>
                    <a:pt x="1943" y="404"/>
                    <a:pt x="1977" y="387"/>
                  </a:cubicBezTo>
                  <a:cubicBezTo>
                    <a:pt x="2017" y="358"/>
                    <a:pt x="2022" y="336"/>
                    <a:pt x="2039" y="296"/>
                  </a:cubicBezTo>
                  <a:cubicBezTo>
                    <a:pt x="2102" y="256"/>
                    <a:pt x="2102" y="256"/>
                    <a:pt x="2102" y="256"/>
                  </a:cubicBezTo>
                  <a:lnTo>
                    <a:pt x="2102" y="256"/>
                  </a:lnTo>
                  <a:cubicBezTo>
                    <a:pt x="2096" y="233"/>
                    <a:pt x="2102" y="211"/>
                    <a:pt x="2079" y="199"/>
                  </a:cubicBezTo>
                  <a:cubicBezTo>
                    <a:pt x="2051" y="188"/>
                    <a:pt x="2039" y="182"/>
                    <a:pt x="2039" y="154"/>
                  </a:cubicBezTo>
                  <a:cubicBezTo>
                    <a:pt x="2045" y="148"/>
                    <a:pt x="2034" y="125"/>
                    <a:pt x="2028" y="120"/>
                  </a:cubicBezTo>
                  <a:lnTo>
                    <a:pt x="2028" y="120"/>
                  </a:lnTo>
                  <a:cubicBezTo>
                    <a:pt x="1965" y="108"/>
                    <a:pt x="1926" y="193"/>
                    <a:pt x="1869" y="205"/>
                  </a:cubicBezTo>
                  <a:cubicBezTo>
                    <a:pt x="1767" y="233"/>
                    <a:pt x="1767" y="233"/>
                    <a:pt x="1767" y="233"/>
                  </a:cubicBezTo>
                  <a:cubicBezTo>
                    <a:pt x="1733" y="245"/>
                    <a:pt x="1647" y="267"/>
                    <a:pt x="1608" y="273"/>
                  </a:cubicBezTo>
                  <a:cubicBezTo>
                    <a:pt x="1551" y="279"/>
                    <a:pt x="1522" y="262"/>
                    <a:pt x="1471" y="256"/>
                  </a:cubicBezTo>
                  <a:cubicBezTo>
                    <a:pt x="1443" y="256"/>
                    <a:pt x="1420" y="284"/>
                    <a:pt x="1380" y="279"/>
                  </a:cubicBezTo>
                  <a:cubicBezTo>
                    <a:pt x="1341" y="267"/>
                    <a:pt x="1295" y="245"/>
                    <a:pt x="1261" y="216"/>
                  </a:cubicBezTo>
                  <a:cubicBezTo>
                    <a:pt x="1221" y="188"/>
                    <a:pt x="1170" y="182"/>
                    <a:pt x="1125" y="142"/>
                  </a:cubicBezTo>
                  <a:cubicBezTo>
                    <a:pt x="1102" y="120"/>
                    <a:pt x="1085" y="120"/>
                    <a:pt x="1051" y="108"/>
                  </a:cubicBezTo>
                  <a:cubicBezTo>
                    <a:pt x="1005" y="103"/>
                    <a:pt x="1000" y="63"/>
                    <a:pt x="943" y="74"/>
                  </a:cubicBezTo>
                  <a:cubicBezTo>
                    <a:pt x="920" y="80"/>
                    <a:pt x="863" y="57"/>
                    <a:pt x="852" y="29"/>
                  </a:cubicBezTo>
                  <a:cubicBezTo>
                    <a:pt x="841" y="0"/>
                    <a:pt x="852" y="0"/>
                    <a:pt x="812" y="17"/>
                  </a:cubicBezTo>
                  <a:cubicBezTo>
                    <a:pt x="767" y="34"/>
                    <a:pt x="750" y="40"/>
                    <a:pt x="699" y="40"/>
                  </a:cubicBezTo>
                  <a:cubicBezTo>
                    <a:pt x="619" y="40"/>
                    <a:pt x="630" y="23"/>
                    <a:pt x="573" y="86"/>
                  </a:cubicBezTo>
                  <a:cubicBezTo>
                    <a:pt x="556" y="108"/>
                    <a:pt x="517" y="114"/>
                    <a:pt x="505" y="142"/>
                  </a:cubicBezTo>
                  <a:cubicBezTo>
                    <a:pt x="494" y="165"/>
                    <a:pt x="522" y="193"/>
                    <a:pt x="522" y="216"/>
                  </a:cubicBezTo>
                  <a:cubicBezTo>
                    <a:pt x="483" y="216"/>
                    <a:pt x="443" y="148"/>
                    <a:pt x="397" y="165"/>
                  </a:cubicBezTo>
                  <a:cubicBezTo>
                    <a:pt x="380" y="171"/>
                    <a:pt x="375" y="171"/>
                    <a:pt x="369" y="165"/>
                  </a:cubicBezTo>
                  <a:lnTo>
                    <a:pt x="369" y="165"/>
                  </a:lnTo>
                  <a:cubicBezTo>
                    <a:pt x="363" y="216"/>
                    <a:pt x="363" y="216"/>
                    <a:pt x="363" y="216"/>
                  </a:cubicBezTo>
                  <a:cubicBezTo>
                    <a:pt x="369" y="233"/>
                    <a:pt x="363" y="245"/>
                    <a:pt x="358" y="256"/>
                  </a:cubicBezTo>
                  <a:cubicBezTo>
                    <a:pt x="346" y="262"/>
                    <a:pt x="318" y="267"/>
                    <a:pt x="312" y="273"/>
                  </a:cubicBezTo>
                  <a:cubicBezTo>
                    <a:pt x="312" y="273"/>
                    <a:pt x="312" y="279"/>
                    <a:pt x="306" y="279"/>
                  </a:cubicBezTo>
                  <a:cubicBezTo>
                    <a:pt x="301" y="319"/>
                    <a:pt x="261" y="262"/>
                    <a:pt x="261" y="250"/>
                  </a:cubicBezTo>
                  <a:lnTo>
                    <a:pt x="255" y="250"/>
                  </a:lnTo>
                  <a:cubicBezTo>
                    <a:pt x="250" y="267"/>
                    <a:pt x="210" y="290"/>
                    <a:pt x="199" y="279"/>
                  </a:cubicBezTo>
                  <a:cubicBezTo>
                    <a:pt x="182" y="262"/>
                    <a:pt x="164" y="267"/>
                    <a:pt x="136" y="267"/>
                  </a:cubicBezTo>
                  <a:cubicBezTo>
                    <a:pt x="130" y="296"/>
                    <a:pt x="142" y="307"/>
                    <a:pt x="108" y="307"/>
                  </a:cubicBezTo>
                  <a:cubicBezTo>
                    <a:pt x="96" y="307"/>
                    <a:pt x="56" y="336"/>
                    <a:pt x="51" y="347"/>
                  </a:cubicBezTo>
                  <a:lnTo>
                    <a:pt x="51" y="353"/>
                  </a:lnTo>
                  <a:cubicBezTo>
                    <a:pt x="45" y="364"/>
                    <a:pt x="17" y="370"/>
                    <a:pt x="5" y="375"/>
                  </a:cubicBezTo>
                  <a:cubicBezTo>
                    <a:pt x="0" y="381"/>
                    <a:pt x="22" y="421"/>
                    <a:pt x="22" y="438"/>
                  </a:cubicBezTo>
                  <a:cubicBezTo>
                    <a:pt x="17" y="466"/>
                    <a:pt x="22" y="483"/>
                    <a:pt x="22" y="512"/>
                  </a:cubicBezTo>
                  <a:cubicBezTo>
                    <a:pt x="34" y="540"/>
                    <a:pt x="34" y="540"/>
                    <a:pt x="34" y="540"/>
                  </a:cubicBezTo>
                  <a:close/>
                  <a:moveTo>
                    <a:pt x="227" y="387"/>
                  </a:moveTo>
                  <a:lnTo>
                    <a:pt x="227" y="387"/>
                  </a:lnTo>
                  <a:cubicBezTo>
                    <a:pt x="221" y="398"/>
                    <a:pt x="221" y="398"/>
                    <a:pt x="221" y="398"/>
                  </a:cubicBezTo>
                  <a:cubicBezTo>
                    <a:pt x="210" y="409"/>
                    <a:pt x="187" y="415"/>
                    <a:pt x="187" y="398"/>
                  </a:cubicBezTo>
                  <a:cubicBezTo>
                    <a:pt x="187" y="387"/>
                    <a:pt x="193" y="370"/>
                    <a:pt x="187" y="358"/>
                  </a:cubicBezTo>
                  <a:cubicBezTo>
                    <a:pt x="182" y="353"/>
                    <a:pt x="176" y="341"/>
                    <a:pt x="182" y="336"/>
                  </a:cubicBezTo>
                  <a:cubicBezTo>
                    <a:pt x="182" y="330"/>
                    <a:pt x="210" y="330"/>
                    <a:pt x="216" y="324"/>
                  </a:cubicBezTo>
                  <a:cubicBezTo>
                    <a:pt x="221" y="319"/>
                    <a:pt x="227" y="324"/>
                    <a:pt x="233" y="330"/>
                  </a:cubicBezTo>
                  <a:cubicBezTo>
                    <a:pt x="233" y="330"/>
                    <a:pt x="244" y="336"/>
                    <a:pt x="244" y="341"/>
                  </a:cubicBezTo>
                  <a:cubicBezTo>
                    <a:pt x="244" y="347"/>
                    <a:pt x="238" y="358"/>
                    <a:pt x="238" y="364"/>
                  </a:cubicBezTo>
                  <a:cubicBezTo>
                    <a:pt x="233" y="370"/>
                    <a:pt x="227" y="381"/>
                    <a:pt x="227" y="387"/>
                  </a:cubicBezTo>
                  <a:close/>
                  <a:moveTo>
                    <a:pt x="1062" y="1239"/>
                  </a:moveTo>
                  <a:lnTo>
                    <a:pt x="1062" y="1239"/>
                  </a:lnTo>
                  <a:cubicBezTo>
                    <a:pt x="1045" y="1250"/>
                    <a:pt x="1045" y="1250"/>
                    <a:pt x="1045" y="1250"/>
                  </a:cubicBezTo>
                  <a:cubicBezTo>
                    <a:pt x="1000" y="1296"/>
                    <a:pt x="1056" y="1324"/>
                    <a:pt x="1102" y="1313"/>
                  </a:cubicBezTo>
                  <a:cubicBezTo>
                    <a:pt x="1108" y="1307"/>
                    <a:pt x="1119" y="1290"/>
                    <a:pt x="1125" y="1296"/>
                  </a:cubicBezTo>
                  <a:cubicBezTo>
                    <a:pt x="1130" y="1296"/>
                    <a:pt x="1136" y="1347"/>
                    <a:pt x="1136" y="1352"/>
                  </a:cubicBezTo>
                  <a:cubicBezTo>
                    <a:pt x="1130" y="1375"/>
                    <a:pt x="1096" y="1352"/>
                    <a:pt x="1085" y="1347"/>
                  </a:cubicBezTo>
                  <a:cubicBezTo>
                    <a:pt x="1062" y="1336"/>
                    <a:pt x="1022" y="1358"/>
                    <a:pt x="994" y="1347"/>
                  </a:cubicBezTo>
                  <a:cubicBezTo>
                    <a:pt x="960" y="1336"/>
                    <a:pt x="960" y="1301"/>
                    <a:pt x="909" y="1318"/>
                  </a:cubicBezTo>
                  <a:cubicBezTo>
                    <a:pt x="875" y="1330"/>
                    <a:pt x="875" y="1330"/>
                    <a:pt x="841" y="1313"/>
                  </a:cubicBezTo>
                  <a:cubicBezTo>
                    <a:pt x="823" y="1307"/>
                    <a:pt x="806" y="1273"/>
                    <a:pt x="784" y="1256"/>
                  </a:cubicBezTo>
                  <a:cubicBezTo>
                    <a:pt x="772" y="1239"/>
                    <a:pt x="715" y="1193"/>
                    <a:pt x="721" y="1182"/>
                  </a:cubicBezTo>
                  <a:cubicBezTo>
                    <a:pt x="738" y="1165"/>
                    <a:pt x="755" y="1131"/>
                    <a:pt x="767" y="1108"/>
                  </a:cubicBezTo>
                  <a:cubicBezTo>
                    <a:pt x="784" y="1063"/>
                    <a:pt x="818" y="1102"/>
                    <a:pt x="852" y="1114"/>
                  </a:cubicBezTo>
                  <a:cubicBezTo>
                    <a:pt x="892" y="1120"/>
                    <a:pt x="949" y="1148"/>
                    <a:pt x="994" y="1148"/>
                  </a:cubicBezTo>
                  <a:cubicBezTo>
                    <a:pt x="1034" y="1148"/>
                    <a:pt x="1028" y="1165"/>
                    <a:pt x="1056" y="1176"/>
                  </a:cubicBezTo>
                  <a:cubicBezTo>
                    <a:pt x="1068" y="1182"/>
                    <a:pt x="1079" y="1176"/>
                    <a:pt x="1091" y="1176"/>
                  </a:cubicBezTo>
                  <a:cubicBezTo>
                    <a:pt x="1079" y="1193"/>
                    <a:pt x="1085" y="1222"/>
                    <a:pt x="1062" y="123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154"/>
            <p:cNvSpPr>
              <a:spLocks noChangeArrowheads="1"/>
            </p:cNvSpPr>
            <p:nvPr/>
          </p:nvSpPr>
          <p:spPr bwMode="auto">
            <a:xfrm>
              <a:off x="15498113" y="3324288"/>
              <a:ext cx="1454958" cy="899877"/>
            </a:xfrm>
            <a:custGeom>
              <a:avLst/>
              <a:gdLst>
                <a:gd name="T0" fmla="*/ 17 w 2102"/>
                <a:gd name="T1" fmla="*/ 579 h 1302"/>
                <a:gd name="T2" fmla="*/ 11 w 2102"/>
                <a:gd name="T3" fmla="*/ 687 h 1302"/>
                <a:gd name="T4" fmla="*/ 85 w 2102"/>
                <a:gd name="T5" fmla="*/ 738 h 1302"/>
                <a:gd name="T6" fmla="*/ 165 w 2102"/>
                <a:gd name="T7" fmla="*/ 852 h 1302"/>
                <a:gd name="T8" fmla="*/ 278 w 2102"/>
                <a:gd name="T9" fmla="*/ 846 h 1302"/>
                <a:gd name="T10" fmla="*/ 415 w 2102"/>
                <a:gd name="T11" fmla="*/ 801 h 1302"/>
                <a:gd name="T12" fmla="*/ 568 w 2102"/>
                <a:gd name="T13" fmla="*/ 824 h 1302"/>
                <a:gd name="T14" fmla="*/ 727 w 2102"/>
                <a:gd name="T15" fmla="*/ 937 h 1302"/>
                <a:gd name="T16" fmla="*/ 789 w 2102"/>
                <a:gd name="T17" fmla="*/ 1136 h 1302"/>
                <a:gd name="T18" fmla="*/ 869 w 2102"/>
                <a:gd name="T19" fmla="*/ 1227 h 1302"/>
                <a:gd name="T20" fmla="*/ 994 w 2102"/>
                <a:gd name="T21" fmla="*/ 1238 h 1302"/>
                <a:gd name="T22" fmla="*/ 1051 w 2102"/>
                <a:gd name="T23" fmla="*/ 1176 h 1302"/>
                <a:gd name="T24" fmla="*/ 1170 w 2102"/>
                <a:gd name="T25" fmla="*/ 1215 h 1302"/>
                <a:gd name="T26" fmla="*/ 1261 w 2102"/>
                <a:gd name="T27" fmla="*/ 1147 h 1302"/>
                <a:gd name="T28" fmla="*/ 1238 w 2102"/>
                <a:gd name="T29" fmla="*/ 1073 h 1302"/>
                <a:gd name="T30" fmla="*/ 1181 w 2102"/>
                <a:gd name="T31" fmla="*/ 1073 h 1302"/>
                <a:gd name="T32" fmla="*/ 1233 w 2102"/>
                <a:gd name="T33" fmla="*/ 1028 h 1302"/>
                <a:gd name="T34" fmla="*/ 1159 w 2102"/>
                <a:gd name="T35" fmla="*/ 1011 h 1302"/>
                <a:gd name="T36" fmla="*/ 1113 w 2102"/>
                <a:gd name="T37" fmla="*/ 886 h 1302"/>
                <a:gd name="T38" fmla="*/ 1324 w 2102"/>
                <a:gd name="T39" fmla="*/ 755 h 1302"/>
                <a:gd name="T40" fmla="*/ 1482 w 2102"/>
                <a:gd name="T41" fmla="*/ 585 h 1302"/>
                <a:gd name="T42" fmla="*/ 1584 w 2102"/>
                <a:gd name="T43" fmla="*/ 625 h 1302"/>
                <a:gd name="T44" fmla="*/ 1766 w 2102"/>
                <a:gd name="T45" fmla="*/ 653 h 1302"/>
                <a:gd name="T46" fmla="*/ 1754 w 2102"/>
                <a:gd name="T47" fmla="*/ 625 h 1302"/>
                <a:gd name="T48" fmla="*/ 1737 w 2102"/>
                <a:gd name="T49" fmla="*/ 488 h 1302"/>
                <a:gd name="T50" fmla="*/ 1783 w 2102"/>
                <a:gd name="T51" fmla="*/ 460 h 1302"/>
                <a:gd name="T52" fmla="*/ 1868 w 2102"/>
                <a:gd name="T53" fmla="*/ 380 h 1302"/>
                <a:gd name="T54" fmla="*/ 1987 w 2102"/>
                <a:gd name="T55" fmla="*/ 363 h 1302"/>
                <a:gd name="T56" fmla="*/ 2038 w 2102"/>
                <a:gd name="T57" fmla="*/ 392 h 1302"/>
                <a:gd name="T58" fmla="*/ 2090 w 2102"/>
                <a:gd name="T59" fmla="*/ 369 h 1302"/>
                <a:gd name="T60" fmla="*/ 2101 w 2102"/>
                <a:gd name="T61" fmla="*/ 278 h 1302"/>
                <a:gd name="T62" fmla="*/ 2067 w 2102"/>
                <a:gd name="T63" fmla="*/ 267 h 1302"/>
                <a:gd name="T64" fmla="*/ 1896 w 2102"/>
                <a:gd name="T65" fmla="*/ 176 h 1302"/>
                <a:gd name="T66" fmla="*/ 1646 w 2102"/>
                <a:gd name="T67" fmla="*/ 62 h 1302"/>
                <a:gd name="T68" fmla="*/ 1375 w 2102"/>
                <a:gd name="T69" fmla="*/ 119 h 1302"/>
                <a:gd name="T70" fmla="*/ 1278 w 2102"/>
                <a:gd name="T71" fmla="*/ 130 h 1302"/>
                <a:gd name="T72" fmla="*/ 1136 w 2102"/>
                <a:gd name="T73" fmla="*/ 102 h 1302"/>
                <a:gd name="T74" fmla="*/ 807 w 2102"/>
                <a:gd name="T75" fmla="*/ 216 h 1302"/>
                <a:gd name="T76" fmla="*/ 608 w 2102"/>
                <a:gd name="T77" fmla="*/ 210 h 1302"/>
                <a:gd name="T78" fmla="*/ 432 w 2102"/>
                <a:gd name="T79" fmla="*/ 227 h 1302"/>
                <a:gd name="T80" fmla="*/ 403 w 2102"/>
                <a:gd name="T81" fmla="*/ 306 h 1302"/>
                <a:gd name="T82" fmla="*/ 369 w 2102"/>
                <a:gd name="T83" fmla="*/ 397 h 1302"/>
                <a:gd name="T84" fmla="*/ 273 w 2102"/>
                <a:gd name="T85" fmla="*/ 426 h 1302"/>
                <a:gd name="T86" fmla="*/ 74 w 2102"/>
                <a:gd name="T87" fmla="*/ 568 h 1302"/>
                <a:gd name="T88" fmla="*/ 1959 w 2102"/>
                <a:gd name="T89" fmla="*/ 500 h 1302"/>
                <a:gd name="T90" fmla="*/ 1953 w 2102"/>
                <a:gd name="T91" fmla="*/ 511 h 1302"/>
                <a:gd name="T92" fmla="*/ 1919 w 2102"/>
                <a:gd name="T93" fmla="*/ 471 h 1302"/>
                <a:gd name="T94" fmla="*/ 1948 w 2102"/>
                <a:gd name="T95" fmla="*/ 437 h 1302"/>
                <a:gd name="T96" fmla="*/ 1976 w 2102"/>
                <a:gd name="T97" fmla="*/ 454 h 1302"/>
                <a:gd name="T98" fmla="*/ 1959 w 2102"/>
                <a:gd name="T99" fmla="*/ 500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02" h="1302">
                  <a:moveTo>
                    <a:pt x="17" y="579"/>
                  </a:moveTo>
                  <a:lnTo>
                    <a:pt x="17" y="579"/>
                  </a:lnTo>
                  <a:cubicBezTo>
                    <a:pt x="17" y="585"/>
                    <a:pt x="34" y="619"/>
                    <a:pt x="28" y="625"/>
                  </a:cubicBezTo>
                  <a:cubicBezTo>
                    <a:pt x="11" y="642"/>
                    <a:pt x="0" y="664"/>
                    <a:pt x="11" y="687"/>
                  </a:cubicBezTo>
                  <a:cubicBezTo>
                    <a:pt x="17" y="699"/>
                    <a:pt x="28" y="710"/>
                    <a:pt x="40" y="716"/>
                  </a:cubicBezTo>
                  <a:cubicBezTo>
                    <a:pt x="51" y="721"/>
                    <a:pt x="74" y="727"/>
                    <a:pt x="85" y="738"/>
                  </a:cubicBezTo>
                  <a:cubicBezTo>
                    <a:pt x="113" y="767"/>
                    <a:pt x="108" y="767"/>
                    <a:pt x="142" y="784"/>
                  </a:cubicBezTo>
                  <a:cubicBezTo>
                    <a:pt x="159" y="795"/>
                    <a:pt x="136" y="852"/>
                    <a:pt x="165" y="852"/>
                  </a:cubicBezTo>
                  <a:cubicBezTo>
                    <a:pt x="176" y="852"/>
                    <a:pt x="193" y="846"/>
                    <a:pt x="204" y="841"/>
                  </a:cubicBezTo>
                  <a:cubicBezTo>
                    <a:pt x="233" y="835"/>
                    <a:pt x="244" y="858"/>
                    <a:pt x="278" y="846"/>
                  </a:cubicBezTo>
                  <a:cubicBezTo>
                    <a:pt x="295" y="835"/>
                    <a:pt x="312" y="812"/>
                    <a:pt x="335" y="829"/>
                  </a:cubicBezTo>
                  <a:cubicBezTo>
                    <a:pt x="392" y="869"/>
                    <a:pt x="375" y="801"/>
                    <a:pt x="415" y="801"/>
                  </a:cubicBezTo>
                  <a:cubicBezTo>
                    <a:pt x="443" y="801"/>
                    <a:pt x="443" y="835"/>
                    <a:pt x="471" y="795"/>
                  </a:cubicBezTo>
                  <a:cubicBezTo>
                    <a:pt x="494" y="772"/>
                    <a:pt x="540" y="806"/>
                    <a:pt x="568" y="824"/>
                  </a:cubicBezTo>
                  <a:cubicBezTo>
                    <a:pt x="602" y="841"/>
                    <a:pt x="591" y="920"/>
                    <a:pt x="642" y="926"/>
                  </a:cubicBezTo>
                  <a:cubicBezTo>
                    <a:pt x="665" y="920"/>
                    <a:pt x="704" y="931"/>
                    <a:pt x="727" y="937"/>
                  </a:cubicBezTo>
                  <a:cubicBezTo>
                    <a:pt x="761" y="943"/>
                    <a:pt x="767" y="1005"/>
                    <a:pt x="773" y="1034"/>
                  </a:cubicBezTo>
                  <a:cubicBezTo>
                    <a:pt x="778" y="1062"/>
                    <a:pt x="773" y="1108"/>
                    <a:pt x="789" y="1136"/>
                  </a:cubicBezTo>
                  <a:cubicBezTo>
                    <a:pt x="801" y="1147"/>
                    <a:pt x="801" y="1153"/>
                    <a:pt x="812" y="1153"/>
                  </a:cubicBezTo>
                  <a:cubicBezTo>
                    <a:pt x="835" y="1153"/>
                    <a:pt x="841" y="1210"/>
                    <a:pt x="869" y="1227"/>
                  </a:cubicBezTo>
                  <a:cubicBezTo>
                    <a:pt x="915" y="1261"/>
                    <a:pt x="915" y="1176"/>
                    <a:pt x="937" y="1244"/>
                  </a:cubicBezTo>
                  <a:cubicBezTo>
                    <a:pt x="954" y="1284"/>
                    <a:pt x="971" y="1272"/>
                    <a:pt x="994" y="1238"/>
                  </a:cubicBezTo>
                  <a:cubicBezTo>
                    <a:pt x="1000" y="1221"/>
                    <a:pt x="1011" y="1221"/>
                    <a:pt x="1023" y="1210"/>
                  </a:cubicBezTo>
                  <a:cubicBezTo>
                    <a:pt x="1023" y="1204"/>
                    <a:pt x="1039" y="1125"/>
                    <a:pt x="1051" y="1176"/>
                  </a:cubicBezTo>
                  <a:cubicBezTo>
                    <a:pt x="1062" y="1227"/>
                    <a:pt x="1062" y="1301"/>
                    <a:pt x="1125" y="1261"/>
                  </a:cubicBezTo>
                  <a:cubicBezTo>
                    <a:pt x="1147" y="1250"/>
                    <a:pt x="1159" y="1238"/>
                    <a:pt x="1170" y="1215"/>
                  </a:cubicBezTo>
                  <a:cubicBezTo>
                    <a:pt x="1181" y="1204"/>
                    <a:pt x="1227" y="1255"/>
                    <a:pt x="1261" y="1215"/>
                  </a:cubicBezTo>
                  <a:cubicBezTo>
                    <a:pt x="1284" y="1193"/>
                    <a:pt x="1255" y="1170"/>
                    <a:pt x="1261" y="1147"/>
                  </a:cubicBezTo>
                  <a:cubicBezTo>
                    <a:pt x="1267" y="1136"/>
                    <a:pt x="1278" y="1113"/>
                    <a:pt x="1267" y="1096"/>
                  </a:cubicBezTo>
                  <a:cubicBezTo>
                    <a:pt x="1255" y="1091"/>
                    <a:pt x="1250" y="1073"/>
                    <a:pt x="1238" y="1073"/>
                  </a:cubicBezTo>
                  <a:cubicBezTo>
                    <a:pt x="1221" y="1073"/>
                    <a:pt x="1244" y="1119"/>
                    <a:pt x="1199" y="1119"/>
                  </a:cubicBezTo>
                  <a:cubicBezTo>
                    <a:pt x="1181" y="1119"/>
                    <a:pt x="1176" y="1073"/>
                    <a:pt x="1181" y="1073"/>
                  </a:cubicBezTo>
                  <a:cubicBezTo>
                    <a:pt x="1159" y="1073"/>
                    <a:pt x="1142" y="1056"/>
                    <a:pt x="1159" y="1039"/>
                  </a:cubicBezTo>
                  <a:cubicBezTo>
                    <a:pt x="1176" y="1022"/>
                    <a:pt x="1210" y="1079"/>
                    <a:pt x="1233" y="1028"/>
                  </a:cubicBezTo>
                  <a:cubicBezTo>
                    <a:pt x="1250" y="1000"/>
                    <a:pt x="1250" y="1011"/>
                    <a:pt x="1238" y="977"/>
                  </a:cubicBezTo>
                  <a:cubicBezTo>
                    <a:pt x="1227" y="937"/>
                    <a:pt x="1176" y="1000"/>
                    <a:pt x="1159" y="1011"/>
                  </a:cubicBezTo>
                  <a:cubicBezTo>
                    <a:pt x="1108" y="1051"/>
                    <a:pt x="1074" y="1039"/>
                    <a:pt x="1068" y="977"/>
                  </a:cubicBezTo>
                  <a:cubicBezTo>
                    <a:pt x="1091" y="960"/>
                    <a:pt x="1079" y="903"/>
                    <a:pt x="1113" y="886"/>
                  </a:cubicBezTo>
                  <a:cubicBezTo>
                    <a:pt x="1153" y="863"/>
                    <a:pt x="1187" y="824"/>
                    <a:pt x="1233" y="795"/>
                  </a:cubicBezTo>
                  <a:cubicBezTo>
                    <a:pt x="1267" y="772"/>
                    <a:pt x="1289" y="795"/>
                    <a:pt x="1324" y="755"/>
                  </a:cubicBezTo>
                  <a:cubicBezTo>
                    <a:pt x="1346" y="733"/>
                    <a:pt x="1380" y="716"/>
                    <a:pt x="1403" y="699"/>
                  </a:cubicBezTo>
                  <a:cubicBezTo>
                    <a:pt x="1437" y="670"/>
                    <a:pt x="1448" y="602"/>
                    <a:pt x="1482" y="585"/>
                  </a:cubicBezTo>
                  <a:cubicBezTo>
                    <a:pt x="1487" y="579"/>
                    <a:pt x="1533" y="591"/>
                    <a:pt x="1538" y="596"/>
                  </a:cubicBezTo>
                  <a:cubicBezTo>
                    <a:pt x="1550" y="636"/>
                    <a:pt x="1544" y="625"/>
                    <a:pt x="1584" y="625"/>
                  </a:cubicBezTo>
                  <a:cubicBezTo>
                    <a:pt x="1612" y="625"/>
                    <a:pt x="1641" y="642"/>
                    <a:pt x="1664" y="647"/>
                  </a:cubicBezTo>
                  <a:cubicBezTo>
                    <a:pt x="1698" y="659"/>
                    <a:pt x="1732" y="653"/>
                    <a:pt x="1766" y="653"/>
                  </a:cubicBezTo>
                  <a:lnTo>
                    <a:pt x="1766" y="653"/>
                  </a:lnTo>
                  <a:cubicBezTo>
                    <a:pt x="1754" y="625"/>
                    <a:pt x="1754" y="625"/>
                    <a:pt x="1754" y="625"/>
                  </a:cubicBezTo>
                  <a:cubicBezTo>
                    <a:pt x="1754" y="596"/>
                    <a:pt x="1749" y="579"/>
                    <a:pt x="1754" y="551"/>
                  </a:cubicBezTo>
                  <a:cubicBezTo>
                    <a:pt x="1754" y="534"/>
                    <a:pt x="1732" y="494"/>
                    <a:pt x="1737" y="488"/>
                  </a:cubicBezTo>
                  <a:cubicBezTo>
                    <a:pt x="1749" y="483"/>
                    <a:pt x="1777" y="477"/>
                    <a:pt x="1783" y="466"/>
                  </a:cubicBezTo>
                  <a:lnTo>
                    <a:pt x="1783" y="460"/>
                  </a:lnTo>
                  <a:cubicBezTo>
                    <a:pt x="1788" y="449"/>
                    <a:pt x="1828" y="420"/>
                    <a:pt x="1840" y="420"/>
                  </a:cubicBezTo>
                  <a:cubicBezTo>
                    <a:pt x="1874" y="420"/>
                    <a:pt x="1862" y="409"/>
                    <a:pt x="1868" y="380"/>
                  </a:cubicBezTo>
                  <a:cubicBezTo>
                    <a:pt x="1896" y="380"/>
                    <a:pt x="1914" y="375"/>
                    <a:pt x="1931" y="392"/>
                  </a:cubicBezTo>
                  <a:cubicBezTo>
                    <a:pt x="1942" y="403"/>
                    <a:pt x="1982" y="380"/>
                    <a:pt x="1987" y="363"/>
                  </a:cubicBezTo>
                  <a:lnTo>
                    <a:pt x="1993" y="363"/>
                  </a:lnTo>
                  <a:cubicBezTo>
                    <a:pt x="1993" y="375"/>
                    <a:pt x="2033" y="432"/>
                    <a:pt x="2038" y="392"/>
                  </a:cubicBezTo>
                  <a:cubicBezTo>
                    <a:pt x="2044" y="392"/>
                    <a:pt x="2044" y="386"/>
                    <a:pt x="2044" y="386"/>
                  </a:cubicBezTo>
                  <a:cubicBezTo>
                    <a:pt x="2050" y="380"/>
                    <a:pt x="2078" y="375"/>
                    <a:pt x="2090" y="369"/>
                  </a:cubicBezTo>
                  <a:cubicBezTo>
                    <a:pt x="2095" y="358"/>
                    <a:pt x="2101" y="346"/>
                    <a:pt x="2095" y="329"/>
                  </a:cubicBezTo>
                  <a:cubicBezTo>
                    <a:pt x="2101" y="278"/>
                    <a:pt x="2101" y="278"/>
                    <a:pt x="2101" y="278"/>
                  </a:cubicBezTo>
                  <a:lnTo>
                    <a:pt x="2101" y="278"/>
                  </a:lnTo>
                  <a:cubicBezTo>
                    <a:pt x="2090" y="278"/>
                    <a:pt x="2084" y="272"/>
                    <a:pt x="2067" y="267"/>
                  </a:cubicBezTo>
                  <a:cubicBezTo>
                    <a:pt x="2038" y="261"/>
                    <a:pt x="2022" y="221"/>
                    <a:pt x="1993" y="204"/>
                  </a:cubicBezTo>
                  <a:cubicBezTo>
                    <a:pt x="1965" y="193"/>
                    <a:pt x="1931" y="193"/>
                    <a:pt x="1896" y="176"/>
                  </a:cubicBezTo>
                  <a:cubicBezTo>
                    <a:pt x="1834" y="147"/>
                    <a:pt x="1737" y="204"/>
                    <a:pt x="1732" y="108"/>
                  </a:cubicBezTo>
                  <a:cubicBezTo>
                    <a:pt x="1726" y="68"/>
                    <a:pt x="1664" y="91"/>
                    <a:pt x="1646" y="62"/>
                  </a:cubicBezTo>
                  <a:cubicBezTo>
                    <a:pt x="1612" y="0"/>
                    <a:pt x="1561" y="22"/>
                    <a:pt x="1504" y="45"/>
                  </a:cubicBezTo>
                  <a:cubicBezTo>
                    <a:pt x="1453" y="56"/>
                    <a:pt x="1409" y="85"/>
                    <a:pt x="1375" y="119"/>
                  </a:cubicBezTo>
                  <a:cubicBezTo>
                    <a:pt x="1341" y="153"/>
                    <a:pt x="1301" y="221"/>
                    <a:pt x="1295" y="153"/>
                  </a:cubicBezTo>
                  <a:cubicBezTo>
                    <a:pt x="1289" y="142"/>
                    <a:pt x="1278" y="136"/>
                    <a:pt x="1278" y="130"/>
                  </a:cubicBezTo>
                  <a:cubicBezTo>
                    <a:pt x="1278" y="113"/>
                    <a:pt x="1335" y="85"/>
                    <a:pt x="1301" y="62"/>
                  </a:cubicBezTo>
                  <a:cubicBezTo>
                    <a:pt x="1289" y="56"/>
                    <a:pt x="1165" y="96"/>
                    <a:pt x="1136" y="102"/>
                  </a:cubicBezTo>
                  <a:cubicBezTo>
                    <a:pt x="1108" y="102"/>
                    <a:pt x="1108" y="136"/>
                    <a:pt x="1074" y="136"/>
                  </a:cubicBezTo>
                  <a:cubicBezTo>
                    <a:pt x="977" y="136"/>
                    <a:pt x="903" y="187"/>
                    <a:pt x="807" y="216"/>
                  </a:cubicBezTo>
                  <a:cubicBezTo>
                    <a:pt x="784" y="227"/>
                    <a:pt x="716" y="233"/>
                    <a:pt x="693" y="227"/>
                  </a:cubicBezTo>
                  <a:cubicBezTo>
                    <a:pt x="665" y="227"/>
                    <a:pt x="636" y="204"/>
                    <a:pt x="608" y="210"/>
                  </a:cubicBezTo>
                  <a:cubicBezTo>
                    <a:pt x="568" y="227"/>
                    <a:pt x="494" y="227"/>
                    <a:pt x="432" y="227"/>
                  </a:cubicBezTo>
                  <a:lnTo>
                    <a:pt x="432" y="227"/>
                  </a:lnTo>
                  <a:cubicBezTo>
                    <a:pt x="403" y="267"/>
                    <a:pt x="403" y="267"/>
                    <a:pt x="403" y="267"/>
                  </a:cubicBezTo>
                  <a:cubicBezTo>
                    <a:pt x="403" y="284"/>
                    <a:pt x="398" y="290"/>
                    <a:pt x="403" y="306"/>
                  </a:cubicBezTo>
                  <a:cubicBezTo>
                    <a:pt x="415" y="341"/>
                    <a:pt x="432" y="392"/>
                    <a:pt x="403" y="420"/>
                  </a:cubicBezTo>
                  <a:cubicBezTo>
                    <a:pt x="380" y="443"/>
                    <a:pt x="375" y="403"/>
                    <a:pt x="369" y="397"/>
                  </a:cubicBezTo>
                  <a:cubicBezTo>
                    <a:pt x="364" y="392"/>
                    <a:pt x="329" y="386"/>
                    <a:pt x="324" y="386"/>
                  </a:cubicBezTo>
                  <a:cubicBezTo>
                    <a:pt x="301" y="380"/>
                    <a:pt x="295" y="409"/>
                    <a:pt x="273" y="426"/>
                  </a:cubicBezTo>
                  <a:cubicBezTo>
                    <a:pt x="233" y="454"/>
                    <a:pt x="176" y="397"/>
                    <a:pt x="176" y="483"/>
                  </a:cubicBezTo>
                  <a:cubicBezTo>
                    <a:pt x="170" y="540"/>
                    <a:pt x="130" y="562"/>
                    <a:pt x="74" y="568"/>
                  </a:cubicBezTo>
                  <a:cubicBezTo>
                    <a:pt x="17" y="579"/>
                    <a:pt x="17" y="579"/>
                    <a:pt x="17" y="579"/>
                  </a:cubicBezTo>
                  <a:close/>
                  <a:moveTo>
                    <a:pt x="1959" y="500"/>
                  </a:moveTo>
                  <a:lnTo>
                    <a:pt x="1959" y="500"/>
                  </a:lnTo>
                  <a:cubicBezTo>
                    <a:pt x="1953" y="511"/>
                    <a:pt x="1953" y="511"/>
                    <a:pt x="1953" y="511"/>
                  </a:cubicBezTo>
                  <a:cubicBezTo>
                    <a:pt x="1942" y="522"/>
                    <a:pt x="1919" y="528"/>
                    <a:pt x="1919" y="511"/>
                  </a:cubicBezTo>
                  <a:cubicBezTo>
                    <a:pt x="1919" y="500"/>
                    <a:pt x="1925" y="483"/>
                    <a:pt x="1919" y="471"/>
                  </a:cubicBezTo>
                  <a:cubicBezTo>
                    <a:pt x="1914" y="466"/>
                    <a:pt x="1908" y="454"/>
                    <a:pt x="1914" y="449"/>
                  </a:cubicBezTo>
                  <a:cubicBezTo>
                    <a:pt x="1914" y="443"/>
                    <a:pt x="1942" y="443"/>
                    <a:pt x="1948" y="437"/>
                  </a:cubicBezTo>
                  <a:cubicBezTo>
                    <a:pt x="1953" y="432"/>
                    <a:pt x="1959" y="437"/>
                    <a:pt x="1965" y="443"/>
                  </a:cubicBezTo>
                  <a:cubicBezTo>
                    <a:pt x="1965" y="443"/>
                    <a:pt x="1976" y="449"/>
                    <a:pt x="1976" y="454"/>
                  </a:cubicBezTo>
                  <a:cubicBezTo>
                    <a:pt x="1976" y="460"/>
                    <a:pt x="1970" y="471"/>
                    <a:pt x="1970" y="477"/>
                  </a:cubicBezTo>
                  <a:cubicBezTo>
                    <a:pt x="1965" y="483"/>
                    <a:pt x="1959" y="494"/>
                    <a:pt x="1959" y="50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155"/>
            <p:cNvSpPr>
              <a:spLocks noChangeArrowheads="1"/>
            </p:cNvSpPr>
            <p:nvPr/>
          </p:nvSpPr>
          <p:spPr bwMode="auto">
            <a:xfrm>
              <a:off x="13530717" y="3168715"/>
              <a:ext cx="2263268" cy="902926"/>
            </a:xfrm>
            <a:custGeom>
              <a:avLst/>
              <a:gdLst>
                <a:gd name="T0" fmla="*/ 3273 w 3274"/>
                <a:gd name="T1" fmla="*/ 454 h 1307"/>
                <a:gd name="T2" fmla="*/ 3244 w 3274"/>
                <a:gd name="T3" fmla="*/ 533 h 1307"/>
                <a:gd name="T4" fmla="*/ 3210 w 3274"/>
                <a:gd name="T5" fmla="*/ 624 h 1307"/>
                <a:gd name="T6" fmla="*/ 3114 w 3274"/>
                <a:gd name="T7" fmla="*/ 653 h 1307"/>
                <a:gd name="T8" fmla="*/ 2915 w 3274"/>
                <a:gd name="T9" fmla="*/ 795 h 1307"/>
                <a:gd name="T10" fmla="*/ 2858 w 3274"/>
                <a:gd name="T11" fmla="*/ 806 h 1307"/>
                <a:gd name="T12" fmla="*/ 2784 w 3274"/>
                <a:gd name="T13" fmla="*/ 704 h 1307"/>
                <a:gd name="T14" fmla="*/ 2682 w 3274"/>
                <a:gd name="T15" fmla="*/ 789 h 1307"/>
                <a:gd name="T16" fmla="*/ 2568 w 3274"/>
                <a:gd name="T17" fmla="*/ 863 h 1307"/>
                <a:gd name="T18" fmla="*/ 2483 w 3274"/>
                <a:gd name="T19" fmla="*/ 926 h 1307"/>
                <a:gd name="T20" fmla="*/ 2273 w 3274"/>
                <a:gd name="T21" fmla="*/ 971 h 1307"/>
                <a:gd name="T22" fmla="*/ 2074 w 3274"/>
                <a:gd name="T23" fmla="*/ 1039 h 1307"/>
                <a:gd name="T24" fmla="*/ 1915 w 3274"/>
                <a:gd name="T25" fmla="*/ 1045 h 1307"/>
                <a:gd name="T26" fmla="*/ 1682 w 3274"/>
                <a:gd name="T27" fmla="*/ 1164 h 1307"/>
                <a:gd name="T28" fmla="*/ 1472 w 3274"/>
                <a:gd name="T29" fmla="*/ 999 h 1307"/>
                <a:gd name="T30" fmla="*/ 1358 w 3274"/>
                <a:gd name="T31" fmla="*/ 988 h 1307"/>
                <a:gd name="T32" fmla="*/ 1244 w 3274"/>
                <a:gd name="T33" fmla="*/ 1051 h 1307"/>
                <a:gd name="T34" fmla="*/ 1034 w 3274"/>
                <a:gd name="T35" fmla="*/ 1039 h 1307"/>
                <a:gd name="T36" fmla="*/ 886 w 3274"/>
                <a:gd name="T37" fmla="*/ 1215 h 1307"/>
                <a:gd name="T38" fmla="*/ 710 w 3274"/>
                <a:gd name="T39" fmla="*/ 1244 h 1307"/>
                <a:gd name="T40" fmla="*/ 597 w 3274"/>
                <a:gd name="T41" fmla="*/ 1244 h 1307"/>
                <a:gd name="T42" fmla="*/ 483 w 3274"/>
                <a:gd name="T43" fmla="*/ 1278 h 1307"/>
                <a:gd name="T44" fmla="*/ 426 w 3274"/>
                <a:gd name="T45" fmla="*/ 1244 h 1307"/>
                <a:gd name="T46" fmla="*/ 301 w 3274"/>
                <a:gd name="T47" fmla="*/ 1096 h 1307"/>
                <a:gd name="T48" fmla="*/ 267 w 3274"/>
                <a:gd name="T49" fmla="*/ 1005 h 1307"/>
                <a:gd name="T50" fmla="*/ 375 w 3274"/>
                <a:gd name="T51" fmla="*/ 795 h 1307"/>
                <a:gd name="T52" fmla="*/ 244 w 3274"/>
                <a:gd name="T53" fmla="*/ 818 h 1307"/>
                <a:gd name="T54" fmla="*/ 199 w 3274"/>
                <a:gd name="T55" fmla="*/ 744 h 1307"/>
                <a:gd name="T56" fmla="*/ 137 w 3274"/>
                <a:gd name="T57" fmla="*/ 590 h 1307"/>
                <a:gd name="T58" fmla="*/ 17 w 3274"/>
                <a:gd name="T59" fmla="*/ 386 h 1307"/>
                <a:gd name="T60" fmla="*/ 165 w 3274"/>
                <a:gd name="T61" fmla="*/ 272 h 1307"/>
                <a:gd name="T62" fmla="*/ 176 w 3274"/>
                <a:gd name="T63" fmla="*/ 170 h 1307"/>
                <a:gd name="T64" fmla="*/ 210 w 3274"/>
                <a:gd name="T65" fmla="*/ 170 h 1307"/>
                <a:gd name="T66" fmla="*/ 432 w 3274"/>
                <a:gd name="T67" fmla="*/ 164 h 1307"/>
                <a:gd name="T68" fmla="*/ 534 w 3274"/>
                <a:gd name="T69" fmla="*/ 170 h 1307"/>
                <a:gd name="T70" fmla="*/ 699 w 3274"/>
                <a:gd name="T71" fmla="*/ 170 h 1307"/>
                <a:gd name="T72" fmla="*/ 835 w 3274"/>
                <a:gd name="T73" fmla="*/ 176 h 1307"/>
                <a:gd name="T74" fmla="*/ 909 w 3274"/>
                <a:gd name="T75" fmla="*/ 176 h 1307"/>
                <a:gd name="T76" fmla="*/ 1165 w 3274"/>
                <a:gd name="T77" fmla="*/ 119 h 1307"/>
                <a:gd name="T78" fmla="*/ 1324 w 3274"/>
                <a:gd name="T79" fmla="*/ 164 h 1307"/>
                <a:gd name="T80" fmla="*/ 1546 w 3274"/>
                <a:gd name="T81" fmla="*/ 79 h 1307"/>
                <a:gd name="T82" fmla="*/ 1631 w 3274"/>
                <a:gd name="T83" fmla="*/ 0 h 1307"/>
                <a:gd name="T84" fmla="*/ 1801 w 3274"/>
                <a:gd name="T85" fmla="*/ 153 h 1307"/>
                <a:gd name="T86" fmla="*/ 1926 w 3274"/>
                <a:gd name="T87" fmla="*/ 176 h 1307"/>
                <a:gd name="T88" fmla="*/ 2187 w 3274"/>
                <a:gd name="T89" fmla="*/ 193 h 1307"/>
                <a:gd name="T90" fmla="*/ 2199 w 3274"/>
                <a:gd name="T91" fmla="*/ 238 h 1307"/>
                <a:gd name="T92" fmla="*/ 2324 w 3274"/>
                <a:gd name="T93" fmla="*/ 215 h 1307"/>
                <a:gd name="T94" fmla="*/ 2568 w 3274"/>
                <a:gd name="T95" fmla="*/ 323 h 1307"/>
                <a:gd name="T96" fmla="*/ 2932 w 3274"/>
                <a:gd name="T97" fmla="*/ 386 h 1307"/>
                <a:gd name="T98" fmla="*/ 3210 w 3274"/>
                <a:gd name="T99" fmla="*/ 448 h 1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74" h="1307">
                  <a:moveTo>
                    <a:pt x="3273" y="454"/>
                  </a:moveTo>
                  <a:lnTo>
                    <a:pt x="3273" y="454"/>
                  </a:lnTo>
                  <a:cubicBezTo>
                    <a:pt x="3244" y="494"/>
                    <a:pt x="3244" y="494"/>
                    <a:pt x="3244" y="494"/>
                  </a:cubicBezTo>
                  <a:cubicBezTo>
                    <a:pt x="3244" y="511"/>
                    <a:pt x="3239" y="517"/>
                    <a:pt x="3244" y="533"/>
                  </a:cubicBezTo>
                  <a:cubicBezTo>
                    <a:pt x="3256" y="568"/>
                    <a:pt x="3273" y="619"/>
                    <a:pt x="3244" y="647"/>
                  </a:cubicBezTo>
                  <a:cubicBezTo>
                    <a:pt x="3221" y="670"/>
                    <a:pt x="3216" y="630"/>
                    <a:pt x="3210" y="624"/>
                  </a:cubicBezTo>
                  <a:cubicBezTo>
                    <a:pt x="3205" y="619"/>
                    <a:pt x="3170" y="613"/>
                    <a:pt x="3165" y="613"/>
                  </a:cubicBezTo>
                  <a:cubicBezTo>
                    <a:pt x="3142" y="607"/>
                    <a:pt x="3136" y="636"/>
                    <a:pt x="3114" y="653"/>
                  </a:cubicBezTo>
                  <a:cubicBezTo>
                    <a:pt x="3074" y="681"/>
                    <a:pt x="3017" y="624"/>
                    <a:pt x="3017" y="710"/>
                  </a:cubicBezTo>
                  <a:cubicBezTo>
                    <a:pt x="3011" y="767"/>
                    <a:pt x="2971" y="789"/>
                    <a:pt x="2915" y="795"/>
                  </a:cubicBezTo>
                  <a:cubicBezTo>
                    <a:pt x="2858" y="806"/>
                    <a:pt x="2858" y="806"/>
                    <a:pt x="2858" y="806"/>
                  </a:cubicBezTo>
                  <a:lnTo>
                    <a:pt x="2858" y="806"/>
                  </a:lnTo>
                  <a:cubicBezTo>
                    <a:pt x="2847" y="789"/>
                    <a:pt x="2847" y="755"/>
                    <a:pt x="2835" y="744"/>
                  </a:cubicBezTo>
                  <a:cubicBezTo>
                    <a:pt x="2829" y="738"/>
                    <a:pt x="2790" y="704"/>
                    <a:pt x="2784" y="704"/>
                  </a:cubicBezTo>
                  <a:cubicBezTo>
                    <a:pt x="2773" y="698"/>
                    <a:pt x="2756" y="727"/>
                    <a:pt x="2744" y="738"/>
                  </a:cubicBezTo>
                  <a:cubicBezTo>
                    <a:pt x="2727" y="755"/>
                    <a:pt x="2705" y="772"/>
                    <a:pt x="2682" y="789"/>
                  </a:cubicBezTo>
                  <a:cubicBezTo>
                    <a:pt x="2653" y="818"/>
                    <a:pt x="2614" y="778"/>
                    <a:pt x="2585" y="801"/>
                  </a:cubicBezTo>
                  <a:cubicBezTo>
                    <a:pt x="2574" y="818"/>
                    <a:pt x="2579" y="846"/>
                    <a:pt x="2568" y="863"/>
                  </a:cubicBezTo>
                  <a:cubicBezTo>
                    <a:pt x="2557" y="880"/>
                    <a:pt x="2551" y="937"/>
                    <a:pt x="2534" y="943"/>
                  </a:cubicBezTo>
                  <a:cubicBezTo>
                    <a:pt x="2511" y="960"/>
                    <a:pt x="2500" y="926"/>
                    <a:pt x="2483" y="926"/>
                  </a:cubicBezTo>
                  <a:cubicBezTo>
                    <a:pt x="2437" y="920"/>
                    <a:pt x="2426" y="977"/>
                    <a:pt x="2358" y="960"/>
                  </a:cubicBezTo>
                  <a:cubicBezTo>
                    <a:pt x="2329" y="954"/>
                    <a:pt x="2318" y="994"/>
                    <a:pt x="2273" y="971"/>
                  </a:cubicBezTo>
                  <a:cubicBezTo>
                    <a:pt x="2233" y="948"/>
                    <a:pt x="2199" y="937"/>
                    <a:pt x="2193" y="1005"/>
                  </a:cubicBezTo>
                  <a:cubicBezTo>
                    <a:pt x="2193" y="1085"/>
                    <a:pt x="2085" y="960"/>
                    <a:pt x="2074" y="1039"/>
                  </a:cubicBezTo>
                  <a:cubicBezTo>
                    <a:pt x="2074" y="1085"/>
                    <a:pt x="2040" y="1068"/>
                    <a:pt x="2006" y="1073"/>
                  </a:cubicBezTo>
                  <a:cubicBezTo>
                    <a:pt x="1966" y="1085"/>
                    <a:pt x="1955" y="1051"/>
                    <a:pt x="1915" y="1045"/>
                  </a:cubicBezTo>
                  <a:cubicBezTo>
                    <a:pt x="1886" y="1039"/>
                    <a:pt x="1858" y="1017"/>
                    <a:pt x="1835" y="1017"/>
                  </a:cubicBezTo>
                  <a:cubicBezTo>
                    <a:pt x="1761" y="1022"/>
                    <a:pt x="1756" y="1176"/>
                    <a:pt x="1682" y="1164"/>
                  </a:cubicBezTo>
                  <a:cubicBezTo>
                    <a:pt x="1642" y="1158"/>
                    <a:pt x="1591" y="1136"/>
                    <a:pt x="1557" y="1119"/>
                  </a:cubicBezTo>
                  <a:cubicBezTo>
                    <a:pt x="1511" y="1096"/>
                    <a:pt x="1483" y="1045"/>
                    <a:pt x="1472" y="999"/>
                  </a:cubicBezTo>
                  <a:cubicBezTo>
                    <a:pt x="1449" y="999"/>
                    <a:pt x="1438" y="1022"/>
                    <a:pt x="1415" y="1011"/>
                  </a:cubicBezTo>
                  <a:cubicBezTo>
                    <a:pt x="1392" y="1005"/>
                    <a:pt x="1386" y="994"/>
                    <a:pt x="1358" y="988"/>
                  </a:cubicBezTo>
                  <a:cubicBezTo>
                    <a:pt x="1307" y="988"/>
                    <a:pt x="1341" y="1051"/>
                    <a:pt x="1312" y="1056"/>
                  </a:cubicBezTo>
                  <a:cubicBezTo>
                    <a:pt x="1290" y="1068"/>
                    <a:pt x="1256" y="1073"/>
                    <a:pt x="1244" y="1051"/>
                  </a:cubicBezTo>
                  <a:cubicBezTo>
                    <a:pt x="1205" y="965"/>
                    <a:pt x="1182" y="1107"/>
                    <a:pt x="1136" y="1085"/>
                  </a:cubicBezTo>
                  <a:cubicBezTo>
                    <a:pt x="1102" y="1062"/>
                    <a:pt x="1057" y="1056"/>
                    <a:pt x="1034" y="1039"/>
                  </a:cubicBezTo>
                  <a:cubicBezTo>
                    <a:pt x="1017" y="1017"/>
                    <a:pt x="983" y="1051"/>
                    <a:pt x="977" y="1068"/>
                  </a:cubicBezTo>
                  <a:cubicBezTo>
                    <a:pt x="955" y="1113"/>
                    <a:pt x="926" y="1187"/>
                    <a:pt x="886" y="1215"/>
                  </a:cubicBezTo>
                  <a:cubicBezTo>
                    <a:pt x="864" y="1227"/>
                    <a:pt x="801" y="1244"/>
                    <a:pt x="773" y="1249"/>
                  </a:cubicBezTo>
                  <a:cubicBezTo>
                    <a:pt x="750" y="1255"/>
                    <a:pt x="733" y="1244"/>
                    <a:pt x="710" y="1244"/>
                  </a:cubicBezTo>
                  <a:cubicBezTo>
                    <a:pt x="693" y="1244"/>
                    <a:pt x="670" y="1238"/>
                    <a:pt x="653" y="1238"/>
                  </a:cubicBezTo>
                  <a:cubicBezTo>
                    <a:pt x="631" y="1238"/>
                    <a:pt x="614" y="1238"/>
                    <a:pt x="597" y="1244"/>
                  </a:cubicBezTo>
                  <a:cubicBezTo>
                    <a:pt x="562" y="1249"/>
                    <a:pt x="540" y="1272"/>
                    <a:pt x="511" y="1295"/>
                  </a:cubicBezTo>
                  <a:cubicBezTo>
                    <a:pt x="494" y="1306"/>
                    <a:pt x="494" y="1295"/>
                    <a:pt x="483" y="1278"/>
                  </a:cubicBezTo>
                  <a:cubicBezTo>
                    <a:pt x="472" y="1255"/>
                    <a:pt x="449" y="1244"/>
                    <a:pt x="426" y="1244"/>
                  </a:cubicBezTo>
                  <a:lnTo>
                    <a:pt x="426" y="1244"/>
                  </a:lnTo>
                  <a:cubicBezTo>
                    <a:pt x="415" y="1170"/>
                    <a:pt x="415" y="1170"/>
                    <a:pt x="415" y="1170"/>
                  </a:cubicBezTo>
                  <a:cubicBezTo>
                    <a:pt x="392" y="1124"/>
                    <a:pt x="307" y="1130"/>
                    <a:pt x="301" y="1096"/>
                  </a:cubicBezTo>
                  <a:cubicBezTo>
                    <a:pt x="267" y="1096"/>
                    <a:pt x="250" y="1136"/>
                    <a:pt x="239" y="1079"/>
                  </a:cubicBezTo>
                  <a:cubicBezTo>
                    <a:pt x="233" y="1062"/>
                    <a:pt x="256" y="1022"/>
                    <a:pt x="267" y="1005"/>
                  </a:cubicBezTo>
                  <a:cubicBezTo>
                    <a:pt x="296" y="943"/>
                    <a:pt x="403" y="977"/>
                    <a:pt x="432" y="897"/>
                  </a:cubicBezTo>
                  <a:cubicBezTo>
                    <a:pt x="438" y="874"/>
                    <a:pt x="392" y="801"/>
                    <a:pt x="375" y="795"/>
                  </a:cubicBezTo>
                  <a:cubicBezTo>
                    <a:pt x="369" y="812"/>
                    <a:pt x="330" y="863"/>
                    <a:pt x="307" y="869"/>
                  </a:cubicBezTo>
                  <a:cubicBezTo>
                    <a:pt x="273" y="880"/>
                    <a:pt x="244" y="846"/>
                    <a:pt x="244" y="818"/>
                  </a:cubicBezTo>
                  <a:cubicBezTo>
                    <a:pt x="244" y="801"/>
                    <a:pt x="267" y="778"/>
                    <a:pt x="261" y="767"/>
                  </a:cubicBezTo>
                  <a:cubicBezTo>
                    <a:pt x="261" y="767"/>
                    <a:pt x="205" y="744"/>
                    <a:pt x="199" y="744"/>
                  </a:cubicBezTo>
                  <a:cubicBezTo>
                    <a:pt x="182" y="744"/>
                    <a:pt x="171" y="738"/>
                    <a:pt x="159" y="721"/>
                  </a:cubicBezTo>
                  <a:cubicBezTo>
                    <a:pt x="119" y="681"/>
                    <a:pt x="148" y="636"/>
                    <a:pt x="137" y="590"/>
                  </a:cubicBezTo>
                  <a:cubicBezTo>
                    <a:pt x="17" y="590"/>
                    <a:pt x="97" y="477"/>
                    <a:pt x="17" y="454"/>
                  </a:cubicBezTo>
                  <a:cubicBezTo>
                    <a:pt x="0" y="448"/>
                    <a:pt x="17" y="397"/>
                    <a:pt x="17" y="386"/>
                  </a:cubicBezTo>
                  <a:cubicBezTo>
                    <a:pt x="68" y="374"/>
                    <a:pt x="80" y="409"/>
                    <a:pt x="114" y="346"/>
                  </a:cubicBezTo>
                  <a:cubicBezTo>
                    <a:pt x="125" y="323"/>
                    <a:pt x="165" y="295"/>
                    <a:pt x="165" y="272"/>
                  </a:cubicBezTo>
                  <a:cubicBezTo>
                    <a:pt x="165" y="249"/>
                    <a:pt x="176" y="227"/>
                    <a:pt x="176" y="210"/>
                  </a:cubicBezTo>
                  <a:cubicBezTo>
                    <a:pt x="176" y="170"/>
                    <a:pt x="176" y="170"/>
                    <a:pt x="176" y="170"/>
                  </a:cubicBezTo>
                  <a:lnTo>
                    <a:pt x="176" y="170"/>
                  </a:lnTo>
                  <a:cubicBezTo>
                    <a:pt x="210" y="170"/>
                    <a:pt x="210" y="170"/>
                    <a:pt x="210" y="170"/>
                  </a:cubicBezTo>
                  <a:cubicBezTo>
                    <a:pt x="256" y="170"/>
                    <a:pt x="290" y="142"/>
                    <a:pt x="330" y="153"/>
                  </a:cubicBezTo>
                  <a:cubicBezTo>
                    <a:pt x="364" y="159"/>
                    <a:pt x="398" y="159"/>
                    <a:pt x="432" y="164"/>
                  </a:cubicBezTo>
                  <a:cubicBezTo>
                    <a:pt x="460" y="170"/>
                    <a:pt x="466" y="159"/>
                    <a:pt x="489" y="159"/>
                  </a:cubicBezTo>
                  <a:cubicBezTo>
                    <a:pt x="506" y="159"/>
                    <a:pt x="523" y="164"/>
                    <a:pt x="534" y="170"/>
                  </a:cubicBezTo>
                  <a:cubicBezTo>
                    <a:pt x="551" y="176"/>
                    <a:pt x="602" y="170"/>
                    <a:pt x="619" y="164"/>
                  </a:cubicBezTo>
                  <a:cubicBezTo>
                    <a:pt x="659" y="159"/>
                    <a:pt x="665" y="164"/>
                    <a:pt x="699" y="170"/>
                  </a:cubicBezTo>
                  <a:cubicBezTo>
                    <a:pt x="727" y="164"/>
                    <a:pt x="756" y="164"/>
                    <a:pt x="784" y="164"/>
                  </a:cubicBezTo>
                  <a:cubicBezTo>
                    <a:pt x="807" y="170"/>
                    <a:pt x="818" y="181"/>
                    <a:pt x="835" y="176"/>
                  </a:cubicBezTo>
                  <a:cubicBezTo>
                    <a:pt x="858" y="176"/>
                    <a:pt x="858" y="153"/>
                    <a:pt x="875" y="153"/>
                  </a:cubicBezTo>
                  <a:cubicBezTo>
                    <a:pt x="886" y="153"/>
                    <a:pt x="898" y="170"/>
                    <a:pt x="909" y="176"/>
                  </a:cubicBezTo>
                  <a:cubicBezTo>
                    <a:pt x="966" y="187"/>
                    <a:pt x="1040" y="164"/>
                    <a:pt x="1097" y="147"/>
                  </a:cubicBezTo>
                  <a:cubicBezTo>
                    <a:pt x="1114" y="142"/>
                    <a:pt x="1153" y="113"/>
                    <a:pt x="1165" y="119"/>
                  </a:cubicBezTo>
                  <a:cubicBezTo>
                    <a:pt x="1188" y="136"/>
                    <a:pt x="1227" y="153"/>
                    <a:pt x="1256" y="159"/>
                  </a:cubicBezTo>
                  <a:cubicBezTo>
                    <a:pt x="1273" y="153"/>
                    <a:pt x="1312" y="153"/>
                    <a:pt x="1324" y="164"/>
                  </a:cubicBezTo>
                  <a:cubicBezTo>
                    <a:pt x="1347" y="193"/>
                    <a:pt x="1381" y="136"/>
                    <a:pt x="1415" y="136"/>
                  </a:cubicBezTo>
                  <a:cubicBezTo>
                    <a:pt x="1455" y="136"/>
                    <a:pt x="1546" y="136"/>
                    <a:pt x="1546" y="79"/>
                  </a:cubicBezTo>
                  <a:cubicBezTo>
                    <a:pt x="1546" y="45"/>
                    <a:pt x="1580" y="62"/>
                    <a:pt x="1602" y="51"/>
                  </a:cubicBezTo>
                  <a:cubicBezTo>
                    <a:pt x="1614" y="45"/>
                    <a:pt x="1625" y="11"/>
                    <a:pt x="1631" y="0"/>
                  </a:cubicBezTo>
                  <a:cubicBezTo>
                    <a:pt x="1648" y="5"/>
                    <a:pt x="1705" y="62"/>
                    <a:pt x="1710" y="79"/>
                  </a:cubicBezTo>
                  <a:cubicBezTo>
                    <a:pt x="1722" y="119"/>
                    <a:pt x="1767" y="136"/>
                    <a:pt x="1801" y="153"/>
                  </a:cubicBezTo>
                  <a:cubicBezTo>
                    <a:pt x="1818" y="170"/>
                    <a:pt x="1818" y="198"/>
                    <a:pt x="1847" y="193"/>
                  </a:cubicBezTo>
                  <a:cubicBezTo>
                    <a:pt x="1875" y="193"/>
                    <a:pt x="1892" y="176"/>
                    <a:pt x="1926" y="176"/>
                  </a:cubicBezTo>
                  <a:cubicBezTo>
                    <a:pt x="1989" y="176"/>
                    <a:pt x="2045" y="193"/>
                    <a:pt x="2102" y="181"/>
                  </a:cubicBezTo>
                  <a:cubicBezTo>
                    <a:pt x="2119" y="181"/>
                    <a:pt x="2187" y="170"/>
                    <a:pt x="2187" y="193"/>
                  </a:cubicBezTo>
                  <a:cubicBezTo>
                    <a:pt x="2187" y="204"/>
                    <a:pt x="2170" y="221"/>
                    <a:pt x="2170" y="238"/>
                  </a:cubicBezTo>
                  <a:cubicBezTo>
                    <a:pt x="2170" y="244"/>
                    <a:pt x="2193" y="244"/>
                    <a:pt x="2199" y="238"/>
                  </a:cubicBezTo>
                  <a:cubicBezTo>
                    <a:pt x="2210" y="198"/>
                    <a:pt x="2205" y="215"/>
                    <a:pt x="2244" y="210"/>
                  </a:cubicBezTo>
                  <a:cubicBezTo>
                    <a:pt x="2267" y="204"/>
                    <a:pt x="2307" y="210"/>
                    <a:pt x="2324" y="215"/>
                  </a:cubicBezTo>
                  <a:cubicBezTo>
                    <a:pt x="2335" y="278"/>
                    <a:pt x="2386" y="306"/>
                    <a:pt x="2449" y="301"/>
                  </a:cubicBezTo>
                  <a:cubicBezTo>
                    <a:pt x="2500" y="283"/>
                    <a:pt x="2523" y="306"/>
                    <a:pt x="2568" y="323"/>
                  </a:cubicBezTo>
                  <a:cubicBezTo>
                    <a:pt x="2648" y="352"/>
                    <a:pt x="2721" y="329"/>
                    <a:pt x="2807" y="352"/>
                  </a:cubicBezTo>
                  <a:cubicBezTo>
                    <a:pt x="2932" y="386"/>
                    <a:pt x="2932" y="386"/>
                    <a:pt x="2932" y="386"/>
                  </a:cubicBezTo>
                  <a:cubicBezTo>
                    <a:pt x="2977" y="397"/>
                    <a:pt x="3017" y="426"/>
                    <a:pt x="3057" y="426"/>
                  </a:cubicBezTo>
                  <a:cubicBezTo>
                    <a:pt x="3108" y="420"/>
                    <a:pt x="3159" y="443"/>
                    <a:pt x="3210" y="448"/>
                  </a:cubicBezTo>
                  <a:cubicBezTo>
                    <a:pt x="3227" y="448"/>
                    <a:pt x="3250" y="448"/>
                    <a:pt x="3273" y="4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5" name="Freeform 156"/>
            <p:cNvSpPr>
              <a:spLocks noChangeArrowheads="1"/>
            </p:cNvSpPr>
            <p:nvPr/>
          </p:nvSpPr>
          <p:spPr bwMode="auto">
            <a:xfrm>
              <a:off x="11731083" y="2997891"/>
              <a:ext cx="2180913" cy="2315272"/>
            </a:xfrm>
            <a:custGeom>
              <a:avLst/>
              <a:gdLst>
                <a:gd name="T0" fmla="*/ 2767 w 3154"/>
                <a:gd name="T1" fmla="*/ 517 h 3347"/>
                <a:gd name="T2" fmla="*/ 2739 w 3154"/>
                <a:gd name="T3" fmla="*/ 835 h 3347"/>
                <a:gd name="T4" fmla="*/ 2846 w 3154"/>
                <a:gd name="T5" fmla="*/ 1063 h 3347"/>
                <a:gd name="T6" fmla="*/ 2869 w 3154"/>
                <a:gd name="T7" fmla="*/ 1250 h 3347"/>
                <a:gd name="T8" fmla="*/ 3028 w 3154"/>
                <a:gd name="T9" fmla="*/ 1489 h 3347"/>
                <a:gd name="T10" fmla="*/ 3000 w 3154"/>
                <a:gd name="T11" fmla="*/ 1551 h 3347"/>
                <a:gd name="T12" fmla="*/ 2863 w 3154"/>
                <a:gd name="T13" fmla="*/ 1778 h 3347"/>
                <a:gd name="T14" fmla="*/ 2761 w 3154"/>
                <a:gd name="T15" fmla="*/ 2063 h 3347"/>
                <a:gd name="T16" fmla="*/ 2875 w 3154"/>
                <a:gd name="T17" fmla="*/ 2171 h 3347"/>
                <a:gd name="T18" fmla="*/ 3051 w 3154"/>
                <a:gd name="T19" fmla="*/ 2256 h 3347"/>
                <a:gd name="T20" fmla="*/ 3148 w 3154"/>
                <a:gd name="T21" fmla="*/ 2489 h 3347"/>
                <a:gd name="T22" fmla="*/ 2937 w 3154"/>
                <a:gd name="T23" fmla="*/ 2704 h 3347"/>
                <a:gd name="T24" fmla="*/ 2790 w 3154"/>
                <a:gd name="T25" fmla="*/ 2903 h 3347"/>
                <a:gd name="T26" fmla="*/ 2858 w 3154"/>
                <a:gd name="T27" fmla="*/ 3051 h 3347"/>
                <a:gd name="T28" fmla="*/ 2596 w 3154"/>
                <a:gd name="T29" fmla="*/ 3068 h 3347"/>
                <a:gd name="T30" fmla="*/ 2324 w 3154"/>
                <a:gd name="T31" fmla="*/ 3312 h 3347"/>
                <a:gd name="T32" fmla="*/ 2204 w 3154"/>
                <a:gd name="T33" fmla="*/ 3227 h 3347"/>
                <a:gd name="T34" fmla="*/ 2102 w 3154"/>
                <a:gd name="T35" fmla="*/ 3210 h 3347"/>
                <a:gd name="T36" fmla="*/ 1841 w 3154"/>
                <a:gd name="T37" fmla="*/ 3216 h 3347"/>
                <a:gd name="T38" fmla="*/ 1710 w 3154"/>
                <a:gd name="T39" fmla="*/ 3142 h 3347"/>
                <a:gd name="T40" fmla="*/ 1409 w 3154"/>
                <a:gd name="T41" fmla="*/ 3324 h 3347"/>
                <a:gd name="T42" fmla="*/ 1358 w 3154"/>
                <a:gd name="T43" fmla="*/ 3125 h 3347"/>
                <a:gd name="T44" fmla="*/ 1460 w 3154"/>
                <a:gd name="T45" fmla="*/ 2886 h 3347"/>
                <a:gd name="T46" fmla="*/ 1170 w 3154"/>
                <a:gd name="T47" fmla="*/ 2864 h 3347"/>
                <a:gd name="T48" fmla="*/ 954 w 3154"/>
                <a:gd name="T49" fmla="*/ 2903 h 3347"/>
                <a:gd name="T50" fmla="*/ 670 w 3154"/>
                <a:gd name="T51" fmla="*/ 3125 h 3347"/>
                <a:gd name="T52" fmla="*/ 517 w 3154"/>
                <a:gd name="T53" fmla="*/ 3244 h 3347"/>
                <a:gd name="T54" fmla="*/ 568 w 3154"/>
                <a:gd name="T55" fmla="*/ 2830 h 3347"/>
                <a:gd name="T56" fmla="*/ 704 w 3154"/>
                <a:gd name="T57" fmla="*/ 2625 h 3347"/>
                <a:gd name="T58" fmla="*/ 795 w 3154"/>
                <a:gd name="T59" fmla="*/ 2517 h 3347"/>
                <a:gd name="T60" fmla="*/ 562 w 3154"/>
                <a:gd name="T61" fmla="*/ 2534 h 3347"/>
                <a:gd name="T62" fmla="*/ 761 w 3154"/>
                <a:gd name="T63" fmla="*/ 2312 h 3347"/>
                <a:gd name="T64" fmla="*/ 528 w 3154"/>
                <a:gd name="T65" fmla="*/ 2284 h 3347"/>
                <a:gd name="T66" fmla="*/ 596 w 3154"/>
                <a:gd name="T67" fmla="*/ 2182 h 3347"/>
                <a:gd name="T68" fmla="*/ 625 w 3154"/>
                <a:gd name="T69" fmla="*/ 1949 h 3347"/>
                <a:gd name="T70" fmla="*/ 557 w 3154"/>
                <a:gd name="T71" fmla="*/ 1960 h 3347"/>
                <a:gd name="T72" fmla="*/ 449 w 3154"/>
                <a:gd name="T73" fmla="*/ 2011 h 3347"/>
                <a:gd name="T74" fmla="*/ 330 w 3154"/>
                <a:gd name="T75" fmla="*/ 2153 h 3347"/>
                <a:gd name="T76" fmla="*/ 307 w 3154"/>
                <a:gd name="T77" fmla="*/ 2000 h 3347"/>
                <a:gd name="T78" fmla="*/ 466 w 3154"/>
                <a:gd name="T79" fmla="*/ 1710 h 3347"/>
                <a:gd name="T80" fmla="*/ 341 w 3154"/>
                <a:gd name="T81" fmla="*/ 1693 h 3347"/>
                <a:gd name="T82" fmla="*/ 227 w 3154"/>
                <a:gd name="T83" fmla="*/ 1676 h 3347"/>
                <a:gd name="T84" fmla="*/ 142 w 3154"/>
                <a:gd name="T85" fmla="*/ 1432 h 3347"/>
                <a:gd name="T86" fmla="*/ 34 w 3154"/>
                <a:gd name="T87" fmla="*/ 1545 h 3347"/>
                <a:gd name="T88" fmla="*/ 108 w 3154"/>
                <a:gd name="T89" fmla="*/ 1188 h 3347"/>
                <a:gd name="T90" fmla="*/ 131 w 3154"/>
                <a:gd name="T91" fmla="*/ 1125 h 3347"/>
                <a:gd name="T92" fmla="*/ 432 w 3154"/>
                <a:gd name="T93" fmla="*/ 955 h 3347"/>
                <a:gd name="T94" fmla="*/ 454 w 3154"/>
                <a:gd name="T95" fmla="*/ 869 h 3347"/>
                <a:gd name="T96" fmla="*/ 568 w 3154"/>
                <a:gd name="T97" fmla="*/ 778 h 3347"/>
                <a:gd name="T98" fmla="*/ 972 w 3154"/>
                <a:gd name="T99" fmla="*/ 801 h 3347"/>
                <a:gd name="T100" fmla="*/ 1227 w 3154"/>
                <a:gd name="T101" fmla="*/ 699 h 3347"/>
                <a:gd name="T102" fmla="*/ 1335 w 3154"/>
                <a:gd name="T103" fmla="*/ 705 h 3347"/>
                <a:gd name="T104" fmla="*/ 1375 w 3154"/>
                <a:gd name="T105" fmla="*/ 551 h 3347"/>
                <a:gd name="T106" fmla="*/ 1210 w 3154"/>
                <a:gd name="T107" fmla="*/ 512 h 3347"/>
                <a:gd name="T108" fmla="*/ 1363 w 3154"/>
                <a:gd name="T109" fmla="*/ 330 h 3347"/>
                <a:gd name="T110" fmla="*/ 1562 w 3154"/>
                <a:gd name="T111" fmla="*/ 154 h 3347"/>
                <a:gd name="T112" fmla="*/ 1835 w 3154"/>
                <a:gd name="T113" fmla="*/ 142 h 3347"/>
                <a:gd name="T114" fmla="*/ 2062 w 3154"/>
                <a:gd name="T115" fmla="*/ 148 h 3347"/>
                <a:gd name="T116" fmla="*/ 2244 w 3154"/>
                <a:gd name="T117" fmla="*/ 159 h 3347"/>
                <a:gd name="T118" fmla="*/ 2648 w 3154"/>
                <a:gd name="T119" fmla="*/ 415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54" h="3347">
                  <a:moveTo>
                    <a:pt x="2778" y="415"/>
                  </a:moveTo>
                  <a:lnTo>
                    <a:pt x="2778" y="415"/>
                  </a:lnTo>
                  <a:cubicBezTo>
                    <a:pt x="2778" y="455"/>
                    <a:pt x="2778" y="455"/>
                    <a:pt x="2778" y="455"/>
                  </a:cubicBezTo>
                  <a:cubicBezTo>
                    <a:pt x="2778" y="472"/>
                    <a:pt x="2767" y="494"/>
                    <a:pt x="2767" y="517"/>
                  </a:cubicBezTo>
                  <a:cubicBezTo>
                    <a:pt x="2767" y="540"/>
                    <a:pt x="2727" y="568"/>
                    <a:pt x="2716" y="591"/>
                  </a:cubicBezTo>
                  <a:cubicBezTo>
                    <a:pt x="2682" y="654"/>
                    <a:pt x="2670" y="619"/>
                    <a:pt x="2619" y="631"/>
                  </a:cubicBezTo>
                  <a:cubicBezTo>
                    <a:pt x="2619" y="642"/>
                    <a:pt x="2602" y="693"/>
                    <a:pt x="2619" y="699"/>
                  </a:cubicBezTo>
                  <a:cubicBezTo>
                    <a:pt x="2699" y="722"/>
                    <a:pt x="2619" y="835"/>
                    <a:pt x="2739" y="835"/>
                  </a:cubicBezTo>
                  <a:cubicBezTo>
                    <a:pt x="2750" y="881"/>
                    <a:pt x="2721" y="926"/>
                    <a:pt x="2761" y="966"/>
                  </a:cubicBezTo>
                  <a:cubicBezTo>
                    <a:pt x="2773" y="983"/>
                    <a:pt x="2784" y="989"/>
                    <a:pt x="2801" y="989"/>
                  </a:cubicBezTo>
                  <a:cubicBezTo>
                    <a:pt x="2807" y="989"/>
                    <a:pt x="2863" y="1012"/>
                    <a:pt x="2863" y="1012"/>
                  </a:cubicBezTo>
                  <a:cubicBezTo>
                    <a:pt x="2869" y="1023"/>
                    <a:pt x="2846" y="1046"/>
                    <a:pt x="2846" y="1063"/>
                  </a:cubicBezTo>
                  <a:cubicBezTo>
                    <a:pt x="2846" y="1091"/>
                    <a:pt x="2875" y="1125"/>
                    <a:pt x="2909" y="1114"/>
                  </a:cubicBezTo>
                  <a:cubicBezTo>
                    <a:pt x="2932" y="1108"/>
                    <a:pt x="2971" y="1057"/>
                    <a:pt x="2977" y="1040"/>
                  </a:cubicBezTo>
                  <a:cubicBezTo>
                    <a:pt x="2994" y="1046"/>
                    <a:pt x="3040" y="1119"/>
                    <a:pt x="3034" y="1142"/>
                  </a:cubicBezTo>
                  <a:cubicBezTo>
                    <a:pt x="3005" y="1222"/>
                    <a:pt x="2898" y="1188"/>
                    <a:pt x="2869" y="1250"/>
                  </a:cubicBezTo>
                  <a:cubicBezTo>
                    <a:pt x="2858" y="1267"/>
                    <a:pt x="2835" y="1307"/>
                    <a:pt x="2841" y="1324"/>
                  </a:cubicBezTo>
                  <a:cubicBezTo>
                    <a:pt x="2852" y="1381"/>
                    <a:pt x="2869" y="1341"/>
                    <a:pt x="2903" y="1341"/>
                  </a:cubicBezTo>
                  <a:cubicBezTo>
                    <a:pt x="2909" y="1375"/>
                    <a:pt x="2994" y="1369"/>
                    <a:pt x="3017" y="1415"/>
                  </a:cubicBezTo>
                  <a:cubicBezTo>
                    <a:pt x="3028" y="1489"/>
                    <a:pt x="3028" y="1489"/>
                    <a:pt x="3028" y="1489"/>
                  </a:cubicBezTo>
                  <a:lnTo>
                    <a:pt x="3028" y="1489"/>
                  </a:lnTo>
                  <a:cubicBezTo>
                    <a:pt x="3017" y="1511"/>
                    <a:pt x="3017" y="1511"/>
                    <a:pt x="3017" y="1511"/>
                  </a:cubicBezTo>
                  <a:cubicBezTo>
                    <a:pt x="3017" y="1528"/>
                    <a:pt x="3051" y="1540"/>
                    <a:pt x="3040" y="1551"/>
                  </a:cubicBezTo>
                  <a:cubicBezTo>
                    <a:pt x="3034" y="1568"/>
                    <a:pt x="3017" y="1551"/>
                    <a:pt x="3000" y="1551"/>
                  </a:cubicBezTo>
                  <a:cubicBezTo>
                    <a:pt x="2954" y="1551"/>
                    <a:pt x="3011" y="1631"/>
                    <a:pt x="3011" y="1648"/>
                  </a:cubicBezTo>
                  <a:cubicBezTo>
                    <a:pt x="3011" y="1665"/>
                    <a:pt x="2977" y="1699"/>
                    <a:pt x="2966" y="1716"/>
                  </a:cubicBezTo>
                  <a:cubicBezTo>
                    <a:pt x="2954" y="1727"/>
                    <a:pt x="2903" y="1801"/>
                    <a:pt x="2886" y="1778"/>
                  </a:cubicBezTo>
                  <a:cubicBezTo>
                    <a:pt x="2875" y="1767"/>
                    <a:pt x="2875" y="1744"/>
                    <a:pt x="2863" y="1778"/>
                  </a:cubicBezTo>
                  <a:cubicBezTo>
                    <a:pt x="2858" y="1790"/>
                    <a:pt x="2852" y="1807"/>
                    <a:pt x="2852" y="1818"/>
                  </a:cubicBezTo>
                  <a:cubicBezTo>
                    <a:pt x="2824" y="1830"/>
                    <a:pt x="2744" y="1824"/>
                    <a:pt x="2778" y="1892"/>
                  </a:cubicBezTo>
                  <a:cubicBezTo>
                    <a:pt x="2818" y="1955"/>
                    <a:pt x="2773" y="1937"/>
                    <a:pt x="2761" y="1989"/>
                  </a:cubicBezTo>
                  <a:cubicBezTo>
                    <a:pt x="2755" y="2017"/>
                    <a:pt x="2784" y="2034"/>
                    <a:pt x="2761" y="2063"/>
                  </a:cubicBezTo>
                  <a:cubicBezTo>
                    <a:pt x="2744" y="2091"/>
                    <a:pt x="2755" y="2153"/>
                    <a:pt x="2739" y="2165"/>
                  </a:cubicBezTo>
                  <a:cubicBezTo>
                    <a:pt x="2739" y="2165"/>
                    <a:pt x="2739" y="2165"/>
                    <a:pt x="2739" y="2171"/>
                  </a:cubicBezTo>
                  <a:cubicBezTo>
                    <a:pt x="2750" y="2171"/>
                    <a:pt x="2807" y="2187"/>
                    <a:pt x="2812" y="2187"/>
                  </a:cubicBezTo>
                  <a:cubicBezTo>
                    <a:pt x="2858" y="2176"/>
                    <a:pt x="2841" y="2222"/>
                    <a:pt x="2875" y="2171"/>
                  </a:cubicBezTo>
                  <a:cubicBezTo>
                    <a:pt x="2886" y="2153"/>
                    <a:pt x="2909" y="2136"/>
                    <a:pt x="2926" y="2153"/>
                  </a:cubicBezTo>
                  <a:cubicBezTo>
                    <a:pt x="2937" y="2165"/>
                    <a:pt x="2988" y="2205"/>
                    <a:pt x="3000" y="2205"/>
                  </a:cubicBezTo>
                  <a:cubicBezTo>
                    <a:pt x="3017" y="2205"/>
                    <a:pt x="3034" y="2205"/>
                    <a:pt x="3045" y="2205"/>
                  </a:cubicBezTo>
                  <a:cubicBezTo>
                    <a:pt x="3051" y="2222"/>
                    <a:pt x="3057" y="2239"/>
                    <a:pt x="3051" y="2256"/>
                  </a:cubicBezTo>
                  <a:cubicBezTo>
                    <a:pt x="3034" y="2284"/>
                    <a:pt x="3057" y="2295"/>
                    <a:pt x="3045" y="2312"/>
                  </a:cubicBezTo>
                  <a:cubicBezTo>
                    <a:pt x="3034" y="2330"/>
                    <a:pt x="3011" y="2335"/>
                    <a:pt x="3028" y="2352"/>
                  </a:cubicBezTo>
                  <a:cubicBezTo>
                    <a:pt x="3051" y="2381"/>
                    <a:pt x="3102" y="2386"/>
                    <a:pt x="3130" y="2409"/>
                  </a:cubicBezTo>
                  <a:cubicBezTo>
                    <a:pt x="3153" y="2432"/>
                    <a:pt x="3148" y="2460"/>
                    <a:pt x="3148" y="2489"/>
                  </a:cubicBezTo>
                  <a:cubicBezTo>
                    <a:pt x="3148" y="2534"/>
                    <a:pt x="3108" y="2568"/>
                    <a:pt x="3079" y="2596"/>
                  </a:cubicBezTo>
                  <a:cubicBezTo>
                    <a:pt x="3057" y="2625"/>
                    <a:pt x="3079" y="2631"/>
                    <a:pt x="3079" y="2653"/>
                  </a:cubicBezTo>
                  <a:cubicBezTo>
                    <a:pt x="3051" y="2653"/>
                    <a:pt x="3022" y="2631"/>
                    <a:pt x="3000" y="2631"/>
                  </a:cubicBezTo>
                  <a:cubicBezTo>
                    <a:pt x="2960" y="2631"/>
                    <a:pt x="2960" y="2687"/>
                    <a:pt x="2937" y="2704"/>
                  </a:cubicBezTo>
                  <a:cubicBezTo>
                    <a:pt x="2909" y="2722"/>
                    <a:pt x="2892" y="2727"/>
                    <a:pt x="2892" y="2761"/>
                  </a:cubicBezTo>
                  <a:cubicBezTo>
                    <a:pt x="2892" y="2795"/>
                    <a:pt x="2869" y="2801"/>
                    <a:pt x="2846" y="2818"/>
                  </a:cubicBezTo>
                  <a:cubicBezTo>
                    <a:pt x="2829" y="2824"/>
                    <a:pt x="2835" y="2846"/>
                    <a:pt x="2824" y="2858"/>
                  </a:cubicBezTo>
                  <a:cubicBezTo>
                    <a:pt x="2812" y="2869"/>
                    <a:pt x="2767" y="2886"/>
                    <a:pt x="2790" y="2903"/>
                  </a:cubicBezTo>
                  <a:cubicBezTo>
                    <a:pt x="2807" y="2920"/>
                    <a:pt x="2824" y="2926"/>
                    <a:pt x="2852" y="2926"/>
                  </a:cubicBezTo>
                  <a:cubicBezTo>
                    <a:pt x="2886" y="2932"/>
                    <a:pt x="2858" y="3006"/>
                    <a:pt x="2841" y="3017"/>
                  </a:cubicBezTo>
                  <a:cubicBezTo>
                    <a:pt x="2858" y="3051"/>
                    <a:pt x="2858" y="3051"/>
                    <a:pt x="2858" y="3051"/>
                  </a:cubicBezTo>
                  <a:lnTo>
                    <a:pt x="2858" y="3051"/>
                  </a:lnTo>
                  <a:cubicBezTo>
                    <a:pt x="2852" y="3062"/>
                    <a:pt x="2801" y="3096"/>
                    <a:pt x="2790" y="3096"/>
                  </a:cubicBezTo>
                  <a:cubicBezTo>
                    <a:pt x="2721" y="3108"/>
                    <a:pt x="2744" y="3079"/>
                    <a:pt x="2716" y="3051"/>
                  </a:cubicBezTo>
                  <a:cubicBezTo>
                    <a:pt x="2693" y="3034"/>
                    <a:pt x="2642" y="3028"/>
                    <a:pt x="2625" y="3051"/>
                  </a:cubicBezTo>
                  <a:cubicBezTo>
                    <a:pt x="2613" y="3068"/>
                    <a:pt x="2596" y="3028"/>
                    <a:pt x="2596" y="3068"/>
                  </a:cubicBezTo>
                  <a:cubicBezTo>
                    <a:pt x="2596" y="3096"/>
                    <a:pt x="2596" y="3125"/>
                    <a:pt x="2602" y="3148"/>
                  </a:cubicBezTo>
                  <a:cubicBezTo>
                    <a:pt x="2608" y="3193"/>
                    <a:pt x="2562" y="3216"/>
                    <a:pt x="2528" y="3227"/>
                  </a:cubicBezTo>
                  <a:cubicBezTo>
                    <a:pt x="2500" y="3233"/>
                    <a:pt x="2398" y="3301"/>
                    <a:pt x="2381" y="3261"/>
                  </a:cubicBezTo>
                  <a:cubicBezTo>
                    <a:pt x="2369" y="3239"/>
                    <a:pt x="2329" y="3307"/>
                    <a:pt x="2324" y="3312"/>
                  </a:cubicBezTo>
                  <a:cubicBezTo>
                    <a:pt x="2290" y="3346"/>
                    <a:pt x="2290" y="3290"/>
                    <a:pt x="2278" y="3267"/>
                  </a:cubicBezTo>
                  <a:cubicBezTo>
                    <a:pt x="2261" y="3261"/>
                    <a:pt x="2278" y="3239"/>
                    <a:pt x="2255" y="3239"/>
                  </a:cubicBezTo>
                  <a:cubicBezTo>
                    <a:pt x="2239" y="3239"/>
                    <a:pt x="2233" y="3233"/>
                    <a:pt x="2216" y="3233"/>
                  </a:cubicBezTo>
                  <a:cubicBezTo>
                    <a:pt x="2216" y="3227"/>
                    <a:pt x="2204" y="3227"/>
                    <a:pt x="2204" y="3227"/>
                  </a:cubicBezTo>
                  <a:cubicBezTo>
                    <a:pt x="2193" y="3239"/>
                    <a:pt x="2199" y="3250"/>
                    <a:pt x="2199" y="3261"/>
                  </a:cubicBezTo>
                  <a:cubicBezTo>
                    <a:pt x="2199" y="3278"/>
                    <a:pt x="2176" y="3278"/>
                    <a:pt x="2165" y="3284"/>
                  </a:cubicBezTo>
                  <a:cubicBezTo>
                    <a:pt x="2142" y="3290"/>
                    <a:pt x="2068" y="3307"/>
                    <a:pt x="2068" y="3273"/>
                  </a:cubicBezTo>
                  <a:cubicBezTo>
                    <a:pt x="2068" y="3255"/>
                    <a:pt x="2102" y="3216"/>
                    <a:pt x="2102" y="3210"/>
                  </a:cubicBezTo>
                  <a:lnTo>
                    <a:pt x="2102" y="3210"/>
                  </a:lnTo>
                  <a:cubicBezTo>
                    <a:pt x="2068" y="3210"/>
                    <a:pt x="2034" y="3216"/>
                    <a:pt x="2005" y="3199"/>
                  </a:cubicBezTo>
                  <a:cubicBezTo>
                    <a:pt x="1937" y="3148"/>
                    <a:pt x="1960" y="3204"/>
                    <a:pt x="1909" y="3193"/>
                  </a:cubicBezTo>
                  <a:cubicBezTo>
                    <a:pt x="1863" y="3187"/>
                    <a:pt x="1875" y="3216"/>
                    <a:pt x="1841" y="3216"/>
                  </a:cubicBezTo>
                  <a:cubicBezTo>
                    <a:pt x="1829" y="3216"/>
                    <a:pt x="1801" y="3210"/>
                    <a:pt x="1790" y="3210"/>
                  </a:cubicBezTo>
                  <a:cubicBezTo>
                    <a:pt x="1778" y="3216"/>
                    <a:pt x="1790" y="3233"/>
                    <a:pt x="1767" y="3244"/>
                  </a:cubicBezTo>
                  <a:cubicBezTo>
                    <a:pt x="1761" y="3250"/>
                    <a:pt x="1755" y="3267"/>
                    <a:pt x="1744" y="3261"/>
                  </a:cubicBezTo>
                  <a:cubicBezTo>
                    <a:pt x="1721" y="3244"/>
                    <a:pt x="1750" y="3096"/>
                    <a:pt x="1710" y="3142"/>
                  </a:cubicBezTo>
                  <a:cubicBezTo>
                    <a:pt x="1693" y="3165"/>
                    <a:pt x="1727" y="3221"/>
                    <a:pt x="1665" y="3227"/>
                  </a:cubicBezTo>
                  <a:cubicBezTo>
                    <a:pt x="1608" y="3227"/>
                    <a:pt x="1608" y="3250"/>
                    <a:pt x="1574" y="3290"/>
                  </a:cubicBezTo>
                  <a:cubicBezTo>
                    <a:pt x="1557" y="3312"/>
                    <a:pt x="1534" y="3295"/>
                    <a:pt x="1511" y="3318"/>
                  </a:cubicBezTo>
                  <a:cubicBezTo>
                    <a:pt x="1489" y="3335"/>
                    <a:pt x="1437" y="3335"/>
                    <a:pt x="1409" y="3324"/>
                  </a:cubicBezTo>
                  <a:cubicBezTo>
                    <a:pt x="1392" y="3312"/>
                    <a:pt x="1386" y="3290"/>
                    <a:pt x="1386" y="3267"/>
                  </a:cubicBezTo>
                  <a:cubicBezTo>
                    <a:pt x="1392" y="3250"/>
                    <a:pt x="1386" y="3239"/>
                    <a:pt x="1386" y="3221"/>
                  </a:cubicBezTo>
                  <a:cubicBezTo>
                    <a:pt x="1358" y="3216"/>
                    <a:pt x="1341" y="3239"/>
                    <a:pt x="1341" y="3193"/>
                  </a:cubicBezTo>
                  <a:cubicBezTo>
                    <a:pt x="1341" y="3165"/>
                    <a:pt x="1335" y="3148"/>
                    <a:pt x="1358" y="3125"/>
                  </a:cubicBezTo>
                  <a:cubicBezTo>
                    <a:pt x="1381" y="3091"/>
                    <a:pt x="1386" y="3062"/>
                    <a:pt x="1398" y="3034"/>
                  </a:cubicBezTo>
                  <a:cubicBezTo>
                    <a:pt x="1420" y="3034"/>
                    <a:pt x="1426" y="3028"/>
                    <a:pt x="1437" y="3011"/>
                  </a:cubicBezTo>
                  <a:cubicBezTo>
                    <a:pt x="1443" y="2989"/>
                    <a:pt x="1466" y="3006"/>
                    <a:pt x="1483" y="2989"/>
                  </a:cubicBezTo>
                  <a:cubicBezTo>
                    <a:pt x="1511" y="2966"/>
                    <a:pt x="1489" y="2898"/>
                    <a:pt x="1460" y="2886"/>
                  </a:cubicBezTo>
                  <a:cubicBezTo>
                    <a:pt x="1426" y="2869"/>
                    <a:pt x="1409" y="2892"/>
                    <a:pt x="1381" y="2903"/>
                  </a:cubicBezTo>
                  <a:cubicBezTo>
                    <a:pt x="1346" y="2909"/>
                    <a:pt x="1358" y="2835"/>
                    <a:pt x="1358" y="2818"/>
                  </a:cubicBezTo>
                  <a:cubicBezTo>
                    <a:pt x="1363" y="2790"/>
                    <a:pt x="1363" y="2778"/>
                    <a:pt x="1341" y="2778"/>
                  </a:cubicBezTo>
                  <a:cubicBezTo>
                    <a:pt x="1335" y="2784"/>
                    <a:pt x="1182" y="2869"/>
                    <a:pt x="1170" y="2864"/>
                  </a:cubicBezTo>
                  <a:cubicBezTo>
                    <a:pt x="1153" y="2864"/>
                    <a:pt x="1148" y="2858"/>
                    <a:pt x="1131" y="2881"/>
                  </a:cubicBezTo>
                  <a:cubicBezTo>
                    <a:pt x="1119" y="2903"/>
                    <a:pt x="1114" y="2869"/>
                    <a:pt x="1091" y="2881"/>
                  </a:cubicBezTo>
                  <a:cubicBezTo>
                    <a:pt x="1057" y="2909"/>
                    <a:pt x="1068" y="2881"/>
                    <a:pt x="1028" y="2881"/>
                  </a:cubicBezTo>
                  <a:cubicBezTo>
                    <a:pt x="1000" y="2881"/>
                    <a:pt x="977" y="2875"/>
                    <a:pt x="954" y="2903"/>
                  </a:cubicBezTo>
                  <a:cubicBezTo>
                    <a:pt x="937" y="2920"/>
                    <a:pt x="932" y="2943"/>
                    <a:pt x="903" y="2932"/>
                  </a:cubicBezTo>
                  <a:cubicBezTo>
                    <a:pt x="841" y="2920"/>
                    <a:pt x="818" y="2937"/>
                    <a:pt x="784" y="2989"/>
                  </a:cubicBezTo>
                  <a:cubicBezTo>
                    <a:pt x="761" y="3023"/>
                    <a:pt x="761" y="3023"/>
                    <a:pt x="722" y="3045"/>
                  </a:cubicBezTo>
                  <a:cubicBezTo>
                    <a:pt x="676" y="3074"/>
                    <a:pt x="693" y="3085"/>
                    <a:pt x="670" y="3125"/>
                  </a:cubicBezTo>
                  <a:cubicBezTo>
                    <a:pt x="659" y="3136"/>
                    <a:pt x="631" y="3148"/>
                    <a:pt x="614" y="3153"/>
                  </a:cubicBezTo>
                  <a:cubicBezTo>
                    <a:pt x="585" y="3170"/>
                    <a:pt x="585" y="3193"/>
                    <a:pt x="562" y="3210"/>
                  </a:cubicBezTo>
                  <a:cubicBezTo>
                    <a:pt x="545" y="3221"/>
                    <a:pt x="534" y="3233"/>
                    <a:pt x="517" y="3244"/>
                  </a:cubicBezTo>
                  <a:lnTo>
                    <a:pt x="517" y="3244"/>
                  </a:lnTo>
                  <a:cubicBezTo>
                    <a:pt x="517" y="3227"/>
                    <a:pt x="517" y="3204"/>
                    <a:pt x="517" y="3187"/>
                  </a:cubicBezTo>
                  <a:cubicBezTo>
                    <a:pt x="517" y="3113"/>
                    <a:pt x="500" y="3045"/>
                    <a:pt x="511" y="2972"/>
                  </a:cubicBezTo>
                  <a:cubicBezTo>
                    <a:pt x="517" y="2926"/>
                    <a:pt x="494" y="2886"/>
                    <a:pt x="494" y="2841"/>
                  </a:cubicBezTo>
                  <a:cubicBezTo>
                    <a:pt x="500" y="2835"/>
                    <a:pt x="557" y="2830"/>
                    <a:pt x="568" y="2830"/>
                  </a:cubicBezTo>
                  <a:cubicBezTo>
                    <a:pt x="568" y="2824"/>
                    <a:pt x="568" y="2824"/>
                    <a:pt x="574" y="2818"/>
                  </a:cubicBezTo>
                  <a:cubicBezTo>
                    <a:pt x="642" y="2767"/>
                    <a:pt x="540" y="2767"/>
                    <a:pt x="591" y="2744"/>
                  </a:cubicBezTo>
                  <a:cubicBezTo>
                    <a:pt x="596" y="2739"/>
                    <a:pt x="642" y="2676"/>
                    <a:pt x="642" y="2665"/>
                  </a:cubicBezTo>
                  <a:cubicBezTo>
                    <a:pt x="653" y="2636"/>
                    <a:pt x="676" y="2636"/>
                    <a:pt x="704" y="2625"/>
                  </a:cubicBezTo>
                  <a:cubicBezTo>
                    <a:pt x="733" y="2608"/>
                    <a:pt x="756" y="2585"/>
                    <a:pt x="773" y="2557"/>
                  </a:cubicBezTo>
                  <a:cubicBezTo>
                    <a:pt x="790" y="2528"/>
                    <a:pt x="852" y="2551"/>
                    <a:pt x="835" y="2511"/>
                  </a:cubicBezTo>
                  <a:cubicBezTo>
                    <a:pt x="830" y="2500"/>
                    <a:pt x="830" y="2449"/>
                    <a:pt x="824" y="2449"/>
                  </a:cubicBezTo>
                  <a:cubicBezTo>
                    <a:pt x="790" y="2466"/>
                    <a:pt x="790" y="2477"/>
                    <a:pt x="795" y="2517"/>
                  </a:cubicBezTo>
                  <a:cubicBezTo>
                    <a:pt x="801" y="2545"/>
                    <a:pt x="744" y="2545"/>
                    <a:pt x="722" y="2545"/>
                  </a:cubicBezTo>
                  <a:cubicBezTo>
                    <a:pt x="687" y="2545"/>
                    <a:pt x="631" y="2602"/>
                    <a:pt x="608" y="2585"/>
                  </a:cubicBezTo>
                  <a:cubicBezTo>
                    <a:pt x="591" y="2574"/>
                    <a:pt x="568" y="2591"/>
                    <a:pt x="557" y="2585"/>
                  </a:cubicBezTo>
                  <a:cubicBezTo>
                    <a:pt x="540" y="2574"/>
                    <a:pt x="562" y="2545"/>
                    <a:pt x="562" y="2534"/>
                  </a:cubicBezTo>
                  <a:cubicBezTo>
                    <a:pt x="574" y="2528"/>
                    <a:pt x="596" y="2523"/>
                    <a:pt x="602" y="2511"/>
                  </a:cubicBezTo>
                  <a:cubicBezTo>
                    <a:pt x="608" y="2483"/>
                    <a:pt x="574" y="2449"/>
                    <a:pt x="614" y="2466"/>
                  </a:cubicBezTo>
                  <a:cubicBezTo>
                    <a:pt x="670" y="2489"/>
                    <a:pt x="682" y="2415"/>
                    <a:pt x="710" y="2375"/>
                  </a:cubicBezTo>
                  <a:cubicBezTo>
                    <a:pt x="733" y="2346"/>
                    <a:pt x="778" y="2341"/>
                    <a:pt x="761" y="2312"/>
                  </a:cubicBezTo>
                  <a:cubicBezTo>
                    <a:pt x="727" y="2256"/>
                    <a:pt x="722" y="2324"/>
                    <a:pt x="676" y="2335"/>
                  </a:cubicBezTo>
                  <a:cubicBezTo>
                    <a:pt x="653" y="2352"/>
                    <a:pt x="653" y="2369"/>
                    <a:pt x="631" y="2358"/>
                  </a:cubicBezTo>
                  <a:cubicBezTo>
                    <a:pt x="608" y="2346"/>
                    <a:pt x="591" y="2364"/>
                    <a:pt x="568" y="2369"/>
                  </a:cubicBezTo>
                  <a:cubicBezTo>
                    <a:pt x="534" y="2375"/>
                    <a:pt x="534" y="2307"/>
                    <a:pt x="528" y="2284"/>
                  </a:cubicBezTo>
                  <a:cubicBezTo>
                    <a:pt x="528" y="2278"/>
                    <a:pt x="562" y="2256"/>
                    <a:pt x="562" y="2256"/>
                  </a:cubicBezTo>
                  <a:lnTo>
                    <a:pt x="568" y="2256"/>
                  </a:lnTo>
                  <a:cubicBezTo>
                    <a:pt x="596" y="2256"/>
                    <a:pt x="591" y="2250"/>
                    <a:pt x="585" y="2227"/>
                  </a:cubicBezTo>
                  <a:cubicBezTo>
                    <a:pt x="574" y="2193"/>
                    <a:pt x="591" y="2205"/>
                    <a:pt x="596" y="2182"/>
                  </a:cubicBezTo>
                  <a:cubicBezTo>
                    <a:pt x="602" y="2171"/>
                    <a:pt x="557" y="2080"/>
                    <a:pt x="580" y="2068"/>
                  </a:cubicBezTo>
                  <a:cubicBezTo>
                    <a:pt x="602" y="2045"/>
                    <a:pt x="625" y="2057"/>
                    <a:pt x="636" y="2017"/>
                  </a:cubicBezTo>
                  <a:cubicBezTo>
                    <a:pt x="648" y="1994"/>
                    <a:pt x="693" y="1937"/>
                    <a:pt x="693" y="1921"/>
                  </a:cubicBezTo>
                  <a:cubicBezTo>
                    <a:pt x="670" y="1921"/>
                    <a:pt x="642" y="1943"/>
                    <a:pt x="625" y="1949"/>
                  </a:cubicBezTo>
                  <a:cubicBezTo>
                    <a:pt x="602" y="1955"/>
                    <a:pt x="608" y="1909"/>
                    <a:pt x="580" y="1898"/>
                  </a:cubicBezTo>
                  <a:cubicBezTo>
                    <a:pt x="574" y="1898"/>
                    <a:pt x="574" y="1898"/>
                    <a:pt x="574" y="1898"/>
                  </a:cubicBezTo>
                  <a:cubicBezTo>
                    <a:pt x="568" y="1903"/>
                    <a:pt x="545" y="1926"/>
                    <a:pt x="545" y="1932"/>
                  </a:cubicBezTo>
                  <a:cubicBezTo>
                    <a:pt x="545" y="1943"/>
                    <a:pt x="557" y="1960"/>
                    <a:pt x="557" y="1960"/>
                  </a:cubicBezTo>
                  <a:cubicBezTo>
                    <a:pt x="557" y="1966"/>
                    <a:pt x="540" y="1966"/>
                    <a:pt x="534" y="1972"/>
                  </a:cubicBezTo>
                  <a:cubicBezTo>
                    <a:pt x="534" y="1977"/>
                    <a:pt x="540" y="1989"/>
                    <a:pt x="540" y="2000"/>
                  </a:cubicBezTo>
                  <a:cubicBezTo>
                    <a:pt x="506" y="2000"/>
                    <a:pt x="523" y="1966"/>
                    <a:pt x="523" y="1955"/>
                  </a:cubicBezTo>
                  <a:cubicBezTo>
                    <a:pt x="494" y="1949"/>
                    <a:pt x="460" y="1989"/>
                    <a:pt x="449" y="2011"/>
                  </a:cubicBezTo>
                  <a:cubicBezTo>
                    <a:pt x="443" y="2017"/>
                    <a:pt x="449" y="2028"/>
                    <a:pt x="443" y="2040"/>
                  </a:cubicBezTo>
                  <a:cubicBezTo>
                    <a:pt x="426" y="2057"/>
                    <a:pt x="415" y="2057"/>
                    <a:pt x="403" y="2068"/>
                  </a:cubicBezTo>
                  <a:cubicBezTo>
                    <a:pt x="381" y="2085"/>
                    <a:pt x="386" y="2125"/>
                    <a:pt x="364" y="2142"/>
                  </a:cubicBezTo>
                  <a:cubicBezTo>
                    <a:pt x="364" y="2142"/>
                    <a:pt x="335" y="2159"/>
                    <a:pt x="330" y="2153"/>
                  </a:cubicBezTo>
                  <a:cubicBezTo>
                    <a:pt x="324" y="2148"/>
                    <a:pt x="330" y="2091"/>
                    <a:pt x="330" y="2080"/>
                  </a:cubicBezTo>
                  <a:cubicBezTo>
                    <a:pt x="330" y="2074"/>
                    <a:pt x="330" y="2074"/>
                    <a:pt x="330" y="2074"/>
                  </a:cubicBezTo>
                  <a:cubicBezTo>
                    <a:pt x="318" y="2068"/>
                    <a:pt x="278" y="2057"/>
                    <a:pt x="278" y="2051"/>
                  </a:cubicBezTo>
                  <a:cubicBezTo>
                    <a:pt x="278" y="2028"/>
                    <a:pt x="301" y="2017"/>
                    <a:pt x="307" y="2000"/>
                  </a:cubicBezTo>
                  <a:cubicBezTo>
                    <a:pt x="330" y="1966"/>
                    <a:pt x="330" y="1909"/>
                    <a:pt x="335" y="1869"/>
                  </a:cubicBezTo>
                  <a:cubicBezTo>
                    <a:pt x="341" y="1858"/>
                    <a:pt x="358" y="1807"/>
                    <a:pt x="369" y="1801"/>
                  </a:cubicBezTo>
                  <a:cubicBezTo>
                    <a:pt x="386" y="1778"/>
                    <a:pt x="426" y="1784"/>
                    <a:pt x="437" y="1750"/>
                  </a:cubicBezTo>
                  <a:cubicBezTo>
                    <a:pt x="449" y="1727"/>
                    <a:pt x="443" y="1722"/>
                    <a:pt x="466" y="1710"/>
                  </a:cubicBezTo>
                  <a:cubicBezTo>
                    <a:pt x="477" y="1705"/>
                    <a:pt x="528" y="1710"/>
                    <a:pt x="506" y="1693"/>
                  </a:cubicBezTo>
                  <a:cubicBezTo>
                    <a:pt x="483" y="1682"/>
                    <a:pt x="449" y="1687"/>
                    <a:pt x="432" y="1705"/>
                  </a:cubicBezTo>
                  <a:cubicBezTo>
                    <a:pt x="432" y="1705"/>
                    <a:pt x="392" y="1710"/>
                    <a:pt x="386" y="1710"/>
                  </a:cubicBezTo>
                  <a:cubicBezTo>
                    <a:pt x="358" y="1716"/>
                    <a:pt x="358" y="1693"/>
                    <a:pt x="341" y="1693"/>
                  </a:cubicBezTo>
                  <a:cubicBezTo>
                    <a:pt x="318" y="1693"/>
                    <a:pt x="290" y="1722"/>
                    <a:pt x="284" y="1744"/>
                  </a:cubicBezTo>
                  <a:cubicBezTo>
                    <a:pt x="267" y="1784"/>
                    <a:pt x="267" y="1784"/>
                    <a:pt x="244" y="1756"/>
                  </a:cubicBezTo>
                  <a:cubicBezTo>
                    <a:pt x="233" y="1744"/>
                    <a:pt x="199" y="1705"/>
                    <a:pt x="199" y="1687"/>
                  </a:cubicBezTo>
                  <a:cubicBezTo>
                    <a:pt x="199" y="1676"/>
                    <a:pt x="222" y="1682"/>
                    <a:pt x="227" y="1676"/>
                  </a:cubicBezTo>
                  <a:cubicBezTo>
                    <a:pt x="267" y="1659"/>
                    <a:pt x="227" y="1619"/>
                    <a:pt x="210" y="1602"/>
                  </a:cubicBezTo>
                  <a:cubicBezTo>
                    <a:pt x="210" y="1608"/>
                    <a:pt x="210" y="1608"/>
                    <a:pt x="210" y="1608"/>
                  </a:cubicBezTo>
                  <a:cubicBezTo>
                    <a:pt x="176" y="1580"/>
                    <a:pt x="210" y="1545"/>
                    <a:pt x="210" y="1506"/>
                  </a:cubicBezTo>
                  <a:cubicBezTo>
                    <a:pt x="210" y="1506"/>
                    <a:pt x="142" y="1466"/>
                    <a:pt x="142" y="1432"/>
                  </a:cubicBezTo>
                  <a:lnTo>
                    <a:pt x="142" y="1432"/>
                  </a:lnTo>
                  <a:cubicBezTo>
                    <a:pt x="136" y="1443"/>
                    <a:pt x="159" y="1489"/>
                    <a:pt x="131" y="1489"/>
                  </a:cubicBezTo>
                  <a:cubicBezTo>
                    <a:pt x="125" y="1477"/>
                    <a:pt x="102" y="1466"/>
                    <a:pt x="96" y="1455"/>
                  </a:cubicBezTo>
                  <a:cubicBezTo>
                    <a:pt x="51" y="1455"/>
                    <a:pt x="57" y="1545"/>
                    <a:pt x="34" y="1545"/>
                  </a:cubicBezTo>
                  <a:cubicBezTo>
                    <a:pt x="34" y="1483"/>
                    <a:pt x="0" y="1449"/>
                    <a:pt x="51" y="1409"/>
                  </a:cubicBezTo>
                  <a:cubicBezTo>
                    <a:pt x="80" y="1381"/>
                    <a:pt x="57" y="1341"/>
                    <a:pt x="40" y="1324"/>
                  </a:cubicBezTo>
                  <a:cubicBezTo>
                    <a:pt x="6" y="1290"/>
                    <a:pt x="45" y="1296"/>
                    <a:pt x="51" y="1278"/>
                  </a:cubicBezTo>
                  <a:cubicBezTo>
                    <a:pt x="62" y="1256"/>
                    <a:pt x="80" y="1182"/>
                    <a:pt x="108" y="1188"/>
                  </a:cubicBezTo>
                  <a:cubicBezTo>
                    <a:pt x="142" y="1193"/>
                    <a:pt x="136" y="1199"/>
                    <a:pt x="159" y="1176"/>
                  </a:cubicBezTo>
                  <a:cubicBezTo>
                    <a:pt x="165" y="1171"/>
                    <a:pt x="187" y="1148"/>
                    <a:pt x="187" y="1142"/>
                  </a:cubicBezTo>
                  <a:cubicBezTo>
                    <a:pt x="182" y="1142"/>
                    <a:pt x="182" y="1114"/>
                    <a:pt x="176" y="1108"/>
                  </a:cubicBezTo>
                  <a:cubicBezTo>
                    <a:pt x="165" y="1102"/>
                    <a:pt x="142" y="1148"/>
                    <a:pt x="131" y="1125"/>
                  </a:cubicBezTo>
                  <a:cubicBezTo>
                    <a:pt x="108" y="1102"/>
                    <a:pt x="153" y="1068"/>
                    <a:pt x="176" y="1046"/>
                  </a:cubicBezTo>
                  <a:cubicBezTo>
                    <a:pt x="210" y="1017"/>
                    <a:pt x="256" y="1057"/>
                    <a:pt x="307" y="1034"/>
                  </a:cubicBezTo>
                  <a:cubicBezTo>
                    <a:pt x="335" y="1012"/>
                    <a:pt x="335" y="989"/>
                    <a:pt x="369" y="977"/>
                  </a:cubicBezTo>
                  <a:cubicBezTo>
                    <a:pt x="398" y="966"/>
                    <a:pt x="454" y="1006"/>
                    <a:pt x="432" y="955"/>
                  </a:cubicBezTo>
                  <a:cubicBezTo>
                    <a:pt x="426" y="932"/>
                    <a:pt x="437" y="921"/>
                    <a:pt x="420" y="909"/>
                  </a:cubicBezTo>
                  <a:cubicBezTo>
                    <a:pt x="403" y="904"/>
                    <a:pt x="381" y="898"/>
                    <a:pt x="381" y="881"/>
                  </a:cubicBezTo>
                  <a:cubicBezTo>
                    <a:pt x="381" y="875"/>
                    <a:pt x="381" y="875"/>
                    <a:pt x="381" y="875"/>
                  </a:cubicBezTo>
                  <a:cubicBezTo>
                    <a:pt x="409" y="875"/>
                    <a:pt x="432" y="869"/>
                    <a:pt x="454" y="869"/>
                  </a:cubicBezTo>
                  <a:cubicBezTo>
                    <a:pt x="494" y="869"/>
                    <a:pt x="483" y="847"/>
                    <a:pt x="483" y="824"/>
                  </a:cubicBezTo>
                  <a:lnTo>
                    <a:pt x="483" y="824"/>
                  </a:lnTo>
                  <a:lnTo>
                    <a:pt x="483" y="824"/>
                  </a:lnTo>
                  <a:cubicBezTo>
                    <a:pt x="528" y="824"/>
                    <a:pt x="551" y="830"/>
                    <a:pt x="568" y="778"/>
                  </a:cubicBezTo>
                  <a:cubicBezTo>
                    <a:pt x="568" y="778"/>
                    <a:pt x="574" y="796"/>
                    <a:pt x="585" y="801"/>
                  </a:cubicBezTo>
                  <a:cubicBezTo>
                    <a:pt x="602" y="813"/>
                    <a:pt x="614" y="830"/>
                    <a:pt x="631" y="841"/>
                  </a:cubicBezTo>
                  <a:cubicBezTo>
                    <a:pt x="733" y="898"/>
                    <a:pt x="767" y="824"/>
                    <a:pt x="864" y="824"/>
                  </a:cubicBezTo>
                  <a:cubicBezTo>
                    <a:pt x="903" y="813"/>
                    <a:pt x="937" y="835"/>
                    <a:pt x="972" y="801"/>
                  </a:cubicBezTo>
                  <a:cubicBezTo>
                    <a:pt x="994" y="778"/>
                    <a:pt x="1057" y="699"/>
                    <a:pt x="1096" y="733"/>
                  </a:cubicBezTo>
                  <a:cubicBezTo>
                    <a:pt x="1125" y="762"/>
                    <a:pt x="1102" y="807"/>
                    <a:pt x="1170" y="767"/>
                  </a:cubicBezTo>
                  <a:cubicBezTo>
                    <a:pt x="1204" y="750"/>
                    <a:pt x="1165" y="699"/>
                    <a:pt x="1182" y="693"/>
                  </a:cubicBezTo>
                  <a:cubicBezTo>
                    <a:pt x="1221" y="671"/>
                    <a:pt x="1204" y="688"/>
                    <a:pt x="1227" y="699"/>
                  </a:cubicBezTo>
                  <a:cubicBezTo>
                    <a:pt x="1239" y="710"/>
                    <a:pt x="1255" y="699"/>
                    <a:pt x="1267" y="716"/>
                  </a:cubicBezTo>
                  <a:cubicBezTo>
                    <a:pt x="1284" y="744"/>
                    <a:pt x="1301" y="790"/>
                    <a:pt x="1341" y="801"/>
                  </a:cubicBezTo>
                  <a:lnTo>
                    <a:pt x="1341" y="801"/>
                  </a:lnTo>
                  <a:cubicBezTo>
                    <a:pt x="1346" y="784"/>
                    <a:pt x="1341" y="722"/>
                    <a:pt x="1335" y="705"/>
                  </a:cubicBezTo>
                  <a:cubicBezTo>
                    <a:pt x="1324" y="682"/>
                    <a:pt x="1369" y="654"/>
                    <a:pt x="1386" y="648"/>
                  </a:cubicBezTo>
                  <a:cubicBezTo>
                    <a:pt x="1386" y="625"/>
                    <a:pt x="1261" y="636"/>
                    <a:pt x="1239" y="619"/>
                  </a:cubicBezTo>
                  <a:cubicBezTo>
                    <a:pt x="1193" y="580"/>
                    <a:pt x="1284" y="585"/>
                    <a:pt x="1307" y="580"/>
                  </a:cubicBezTo>
                  <a:cubicBezTo>
                    <a:pt x="1329" y="574"/>
                    <a:pt x="1352" y="574"/>
                    <a:pt x="1375" y="551"/>
                  </a:cubicBezTo>
                  <a:cubicBezTo>
                    <a:pt x="1381" y="546"/>
                    <a:pt x="1386" y="528"/>
                    <a:pt x="1375" y="534"/>
                  </a:cubicBezTo>
                  <a:cubicBezTo>
                    <a:pt x="1341" y="551"/>
                    <a:pt x="1307" y="551"/>
                    <a:pt x="1267" y="563"/>
                  </a:cubicBezTo>
                  <a:cubicBezTo>
                    <a:pt x="1239" y="574"/>
                    <a:pt x="1210" y="557"/>
                    <a:pt x="1182" y="557"/>
                  </a:cubicBezTo>
                  <a:cubicBezTo>
                    <a:pt x="1182" y="546"/>
                    <a:pt x="1221" y="534"/>
                    <a:pt x="1210" y="512"/>
                  </a:cubicBezTo>
                  <a:cubicBezTo>
                    <a:pt x="1187" y="472"/>
                    <a:pt x="1221" y="489"/>
                    <a:pt x="1227" y="455"/>
                  </a:cubicBezTo>
                  <a:cubicBezTo>
                    <a:pt x="1233" y="432"/>
                    <a:pt x="1199" y="426"/>
                    <a:pt x="1199" y="409"/>
                  </a:cubicBezTo>
                  <a:cubicBezTo>
                    <a:pt x="1210" y="409"/>
                    <a:pt x="1216" y="392"/>
                    <a:pt x="1227" y="409"/>
                  </a:cubicBezTo>
                  <a:cubicBezTo>
                    <a:pt x="1255" y="449"/>
                    <a:pt x="1358" y="364"/>
                    <a:pt x="1363" y="330"/>
                  </a:cubicBezTo>
                  <a:cubicBezTo>
                    <a:pt x="1375" y="296"/>
                    <a:pt x="1386" y="341"/>
                    <a:pt x="1403" y="313"/>
                  </a:cubicBezTo>
                  <a:cubicBezTo>
                    <a:pt x="1437" y="267"/>
                    <a:pt x="1449" y="273"/>
                    <a:pt x="1494" y="267"/>
                  </a:cubicBezTo>
                  <a:cubicBezTo>
                    <a:pt x="1545" y="262"/>
                    <a:pt x="1505" y="245"/>
                    <a:pt x="1517" y="205"/>
                  </a:cubicBezTo>
                  <a:cubicBezTo>
                    <a:pt x="1523" y="176"/>
                    <a:pt x="1517" y="137"/>
                    <a:pt x="1562" y="154"/>
                  </a:cubicBezTo>
                  <a:cubicBezTo>
                    <a:pt x="1613" y="171"/>
                    <a:pt x="1636" y="125"/>
                    <a:pt x="1676" y="114"/>
                  </a:cubicBezTo>
                  <a:cubicBezTo>
                    <a:pt x="1704" y="103"/>
                    <a:pt x="1716" y="46"/>
                    <a:pt x="1750" y="46"/>
                  </a:cubicBezTo>
                  <a:cubicBezTo>
                    <a:pt x="1750" y="171"/>
                    <a:pt x="1750" y="171"/>
                    <a:pt x="1750" y="171"/>
                  </a:cubicBezTo>
                  <a:cubicBezTo>
                    <a:pt x="1744" y="227"/>
                    <a:pt x="1824" y="154"/>
                    <a:pt x="1835" y="142"/>
                  </a:cubicBezTo>
                  <a:cubicBezTo>
                    <a:pt x="1875" y="114"/>
                    <a:pt x="1932" y="85"/>
                    <a:pt x="1971" y="57"/>
                  </a:cubicBezTo>
                  <a:cubicBezTo>
                    <a:pt x="2040" y="0"/>
                    <a:pt x="1960" y="103"/>
                    <a:pt x="1960" y="125"/>
                  </a:cubicBezTo>
                  <a:cubicBezTo>
                    <a:pt x="1983" y="131"/>
                    <a:pt x="2000" y="91"/>
                    <a:pt x="2028" y="91"/>
                  </a:cubicBezTo>
                  <a:cubicBezTo>
                    <a:pt x="2034" y="91"/>
                    <a:pt x="2062" y="142"/>
                    <a:pt x="2062" y="148"/>
                  </a:cubicBezTo>
                  <a:cubicBezTo>
                    <a:pt x="2074" y="159"/>
                    <a:pt x="2091" y="182"/>
                    <a:pt x="2091" y="193"/>
                  </a:cubicBezTo>
                  <a:cubicBezTo>
                    <a:pt x="2142" y="137"/>
                    <a:pt x="2142" y="137"/>
                    <a:pt x="2142" y="137"/>
                  </a:cubicBezTo>
                  <a:cubicBezTo>
                    <a:pt x="2159" y="119"/>
                    <a:pt x="2187" y="125"/>
                    <a:pt x="2204" y="131"/>
                  </a:cubicBezTo>
                  <a:cubicBezTo>
                    <a:pt x="2250" y="137"/>
                    <a:pt x="2221" y="148"/>
                    <a:pt x="2244" y="159"/>
                  </a:cubicBezTo>
                  <a:cubicBezTo>
                    <a:pt x="2261" y="171"/>
                    <a:pt x="2290" y="176"/>
                    <a:pt x="2307" y="182"/>
                  </a:cubicBezTo>
                  <a:cubicBezTo>
                    <a:pt x="2369" y="210"/>
                    <a:pt x="2415" y="301"/>
                    <a:pt x="2466" y="347"/>
                  </a:cubicBezTo>
                  <a:cubicBezTo>
                    <a:pt x="2489" y="369"/>
                    <a:pt x="2500" y="409"/>
                    <a:pt x="2534" y="409"/>
                  </a:cubicBezTo>
                  <a:cubicBezTo>
                    <a:pt x="2568" y="409"/>
                    <a:pt x="2613" y="426"/>
                    <a:pt x="2648" y="415"/>
                  </a:cubicBezTo>
                  <a:cubicBezTo>
                    <a:pt x="2778" y="415"/>
                    <a:pt x="2778" y="415"/>
                    <a:pt x="2778" y="41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6" name="Freeform 157"/>
            <p:cNvSpPr>
              <a:spLocks noChangeArrowheads="1"/>
            </p:cNvSpPr>
            <p:nvPr/>
          </p:nvSpPr>
          <p:spPr bwMode="auto">
            <a:xfrm>
              <a:off x="19753179" y="4096044"/>
              <a:ext cx="2681150" cy="2656920"/>
            </a:xfrm>
            <a:custGeom>
              <a:avLst/>
              <a:gdLst>
                <a:gd name="T0" fmla="*/ 574 w 3876"/>
                <a:gd name="T1" fmla="*/ 3733 h 3842"/>
                <a:gd name="T2" fmla="*/ 613 w 3876"/>
                <a:gd name="T3" fmla="*/ 3773 h 3842"/>
                <a:gd name="T4" fmla="*/ 2267 w 3876"/>
                <a:gd name="T5" fmla="*/ 688 h 3842"/>
                <a:gd name="T6" fmla="*/ 2199 w 3876"/>
                <a:gd name="T7" fmla="*/ 654 h 3842"/>
                <a:gd name="T8" fmla="*/ 2244 w 3876"/>
                <a:gd name="T9" fmla="*/ 631 h 3842"/>
                <a:gd name="T10" fmla="*/ 2272 w 3876"/>
                <a:gd name="T11" fmla="*/ 682 h 3842"/>
                <a:gd name="T12" fmla="*/ 426 w 3876"/>
                <a:gd name="T13" fmla="*/ 3841 h 3842"/>
                <a:gd name="T14" fmla="*/ 335 w 3876"/>
                <a:gd name="T15" fmla="*/ 3761 h 3842"/>
                <a:gd name="T16" fmla="*/ 136 w 3876"/>
                <a:gd name="T17" fmla="*/ 3631 h 3842"/>
                <a:gd name="T18" fmla="*/ 45 w 3876"/>
                <a:gd name="T19" fmla="*/ 3511 h 3842"/>
                <a:gd name="T20" fmla="*/ 6 w 3876"/>
                <a:gd name="T21" fmla="*/ 3472 h 3842"/>
                <a:gd name="T22" fmla="*/ 97 w 3876"/>
                <a:gd name="T23" fmla="*/ 3420 h 3842"/>
                <a:gd name="T24" fmla="*/ 136 w 3876"/>
                <a:gd name="T25" fmla="*/ 3051 h 3842"/>
                <a:gd name="T26" fmla="*/ 102 w 3876"/>
                <a:gd name="T27" fmla="*/ 2858 h 3842"/>
                <a:gd name="T28" fmla="*/ 187 w 3876"/>
                <a:gd name="T29" fmla="*/ 2727 h 3842"/>
                <a:gd name="T30" fmla="*/ 244 w 3876"/>
                <a:gd name="T31" fmla="*/ 2511 h 3842"/>
                <a:gd name="T32" fmla="*/ 227 w 3876"/>
                <a:gd name="T33" fmla="*/ 2318 h 3842"/>
                <a:gd name="T34" fmla="*/ 233 w 3876"/>
                <a:gd name="T35" fmla="*/ 2074 h 3842"/>
                <a:gd name="T36" fmla="*/ 295 w 3876"/>
                <a:gd name="T37" fmla="*/ 1835 h 3842"/>
                <a:gd name="T38" fmla="*/ 483 w 3876"/>
                <a:gd name="T39" fmla="*/ 1688 h 3842"/>
                <a:gd name="T40" fmla="*/ 540 w 3876"/>
                <a:gd name="T41" fmla="*/ 1489 h 3842"/>
                <a:gd name="T42" fmla="*/ 636 w 3876"/>
                <a:gd name="T43" fmla="*/ 1307 h 3842"/>
                <a:gd name="T44" fmla="*/ 739 w 3876"/>
                <a:gd name="T45" fmla="*/ 847 h 3842"/>
                <a:gd name="T46" fmla="*/ 687 w 3876"/>
                <a:gd name="T47" fmla="*/ 710 h 3842"/>
                <a:gd name="T48" fmla="*/ 716 w 3876"/>
                <a:gd name="T49" fmla="*/ 591 h 3842"/>
                <a:gd name="T50" fmla="*/ 665 w 3876"/>
                <a:gd name="T51" fmla="*/ 381 h 3842"/>
                <a:gd name="T52" fmla="*/ 613 w 3876"/>
                <a:gd name="T53" fmla="*/ 284 h 3842"/>
                <a:gd name="T54" fmla="*/ 613 w 3876"/>
                <a:gd name="T55" fmla="*/ 142 h 3842"/>
                <a:gd name="T56" fmla="*/ 744 w 3876"/>
                <a:gd name="T57" fmla="*/ 34 h 3842"/>
                <a:gd name="T58" fmla="*/ 1000 w 3876"/>
                <a:gd name="T59" fmla="*/ 114 h 3842"/>
                <a:gd name="T60" fmla="*/ 1318 w 3876"/>
                <a:gd name="T61" fmla="*/ 228 h 3842"/>
                <a:gd name="T62" fmla="*/ 1488 w 3876"/>
                <a:gd name="T63" fmla="*/ 279 h 3842"/>
                <a:gd name="T64" fmla="*/ 1568 w 3876"/>
                <a:gd name="T65" fmla="*/ 438 h 3842"/>
                <a:gd name="T66" fmla="*/ 1574 w 3876"/>
                <a:gd name="T67" fmla="*/ 489 h 3842"/>
                <a:gd name="T68" fmla="*/ 1562 w 3876"/>
                <a:gd name="T69" fmla="*/ 642 h 3842"/>
                <a:gd name="T70" fmla="*/ 1835 w 3876"/>
                <a:gd name="T71" fmla="*/ 642 h 3842"/>
                <a:gd name="T72" fmla="*/ 1954 w 3876"/>
                <a:gd name="T73" fmla="*/ 614 h 3842"/>
                <a:gd name="T74" fmla="*/ 2113 w 3876"/>
                <a:gd name="T75" fmla="*/ 682 h 3842"/>
                <a:gd name="T76" fmla="*/ 2403 w 3876"/>
                <a:gd name="T77" fmla="*/ 761 h 3842"/>
                <a:gd name="T78" fmla="*/ 2636 w 3876"/>
                <a:gd name="T79" fmla="*/ 722 h 3842"/>
                <a:gd name="T80" fmla="*/ 2903 w 3876"/>
                <a:gd name="T81" fmla="*/ 875 h 3842"/>
                <a:gd name="T82" fmla="*/ 3062 w 3876"/>
                <a:gd name="T83" fmla="*/ 824 h 3842"/>
                <a:gd name="T84" fmla="*/ 3324 w 3876"/>
                <a:gd name="T85" fmla="*/ 665 h 3842"/>
                <a:gd name="T86" fmla="*/ 3539 w 3876"/>
                <a:gd name="T87" fmla="*/ 676 h 3842"/>
                <a:gd name="T88" fmla="*/ 3744 w 3876"/>
                <a:gd name="T89" fmla="*/ 852 h 3842"/>
                <a:gd name="T90" fmla="*/ 3875 w 3876"/>
                <a:gd name="T91" fmla="*/ 898 h 3842"/>
                <a:gd name="T92" fmla="*/ 3716 w 3876"/>
                <a:gd name="T93" fmla="*/ 1029 h 3842"/>
                <a:gd name="T94" fmla="*/ 3733 w 3876"/>
                <a:gd name="T95" fmla="*/ 1301 h 3842"/>
                <a:gd name="T96" fmla="*/ 3721 w 3876"/>
                <a:gd name="T97" fmla="*/ 1614 h 3842"/>
                <a:gd name="T98" fmla="*/ 3551 w 3876"/>
                <a:gd name="T99" fmla="*/ 1784 h 3842"/>
                <a:gd name="T100" fmla="*/ 3187 w 3876"/>
                <a:gd name="T101" fmla="*/ 2011 h 3842"/>
                <a:gd name="T102" fmla="*/ 2625 w 3876"/>
                <a:gd name="T103" fmla="*/ 2296 h 3842"/>
                <a:gd name="T104" fmla="*/ 2216 w 3876"/>
                <a:gd name="T105" fmla="*/ 2631 h 3842"/>
                <a:gd name="T106" fmla="*/ 1676 w 3876"/>
                <a:gd name="T107" fmla="*/ 2778 h 3842"/>
                <a:gd name="T108" fmla="*/ 1267 w 3876"/>
                <a:gd name="T109" fmla="*/ 2932 h 3842"/>
                <a:gd name="T110" fmla="*/ 903 w 3876"/>
                <a:gd name="T111" fmla="*/ 3108 h 3842"/>
                <a:gd name="T112" fmla="*/ 699 w 3876"/>
                <a:gd name="T113" fmla="*/ 3341 h 3842"/>
                <a:gd name="T114" fmla="*/ 761 w 3876"/>
                <a:gd name="T115" fmla="*/ 3454 h 3842"/>
                <a:gd name="T116" fmla="*/ 739 w 3876"/>
                <a:gd name="T117" fmla="*/ 3642 h 3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76" h="3842">
                  <a:moveTo>
                    <a:pt x="625" y="3727"/>
                  </a:moveTo>
                  <a:lnTo>
                    <a:pt x="625" y="3727"/>
                  </a:lnTo>
                  <a:cubicBezTo>
                    <a:pt x="608" y="3727"/>
                    <a:pt x="591" y="3733"/>
                    <a:pt x="574" y="3733"/>
                  </a:cubicBezTo>
                  <a:cubicBezTo>
                    <a:pt x="562" y="3733"/>
                    <a:pt x="534" y="3738"/>
                    <a:pt x="540" y="3756"/>
                  </a:cubicBezTo>
                  <a:cubicBezTo>
                    <a:pt x="540" y="3761"/>
                    <a:pt x="551" y="3778"/>
                    <a:pt x="557" y="3778"/>
                  </a:cubicBezTo>
                  <a:cubicBezTo>
                    <a:pt x="579" y="3795"/>
                    <a:pt x="597" y="3778"/>
                    <a:pt x="613" y="3773"/>
                  </a:cubicBezTo>
                  <a:cubicBezTo>
                    <a:pt x="625" y="3767"/>
                    <a:pt x="659" y="3756"/>
                    <a:pt x="642" y="3733"/>
                  </a:cubicBezTo>
                  <a:cubicBezTo>
                    <a:pt x="625" y="3727"/>
                    <a:pt x="625" y="3727"/>
                    <a:pt x="625" y="3727"/>
                  </a:cubicBezTo>
                  <a:close/>
                  <a:moveTo>
                    <a:pt x="2267" y="688"/>
                  </a:moveTo>
                  <a:lnTo>
                    <a:pt x="2267" y="688"/>
                  </a:lnTo>
                  <a:cubicBezTo>
                    <a:pt x="2250" y="688"/>
                    <a:pt x="2221" y="688"/>
                    <a:pt x="2204" y="676"/>
                  </a:cubicBezTo>
                  <a:cubicBezTo>
                    <a:pt x="2199" y="671"/>
                    <a:pt x="2199" y="659"/>
                    <a:pt x="2199" y="654"/>
                  </a:cubicBezTo>
                  <a:cubicBezTo>
                    <a:pt x="2199" y="648"/>
                    <a:pt x="2210" y="642"/>
                    <a:pt x="2210" y="637"/>
                  </a:cubicBezTo>
                  <a:cubicBezTo>
                    <a:pt x="2216" y="631"/>
                    <a:pt x="2221" y="602"/>
                    <a:pt x="2233" y="614"/>
                  </a:cubicBezTo>
                  <a:cubicBezTo>
                    <a:pt x="2238" y="614"/>
                    <a:pt x="2250" y="625"/>
                    <a:pt x="2244" y="631"/>
                  </a:cubicBezTo>
                  <a:cubicBezTo>
                    <a:pt x="2244" y="637"/>
                    <a:pt x="2244" y="637"/>
                    <a:pt x="2244" y="642"/>
                  </a:cubicBezTo>
                  <a:cubicBezTo>
                    <a:pt x="2250" y="654"/>
                    <a:pt x="2256" y="654"/>
                    <a:pt x="2261" y="665"/>
                  </a:cubicBezTo>
                  <a:cubicBezTo>
                    <a:pt x="2267" y="671"/>
                    <a:pt x="2278" y="676"/>
                    <a:pt x="2272" y="682"/>
                  </a:cubicBezTo>
                  <a:cubicBezTo>
                    <a:pt x="2267" y="688"/>
                    <a:pt x="2267" y="688"/>
                    <a:pt x="2267" y="688"/>
                  </a:cubicBezTo>
                  <a:close/>
                  <a:moveTo>
                    <a:pt x="426" y="3841"/>
                  </a:moveTo>
                  <a:lnTo>
                    <a:pt x="426" y="3841"/>
                  </a:lnTo>
                  <a:lnTo>
                    <a:pt x="426" y="3841"/>
                  </a:lnTo>
                  <a:cubicBezTo>
                    <a:pt x="358" y="3812"/>
                    <a:pt x="358" y="3812"/>
                    <a:pt x="358" y="3812"/>
                  </a:cubicBezTo>
                  <a:cubicBezTo>
                    <a:pt x="324" y="3795"/>
                    <a:pt x="341" y="3795"/>
                    <a:pt x="335" y="3761"/>
                  </a:cubicBezTo>
                  <a:cubicBezTo>
                    <a:pt x="335" y="3750"/>
                    <a:pt x="312" y="3716"/>
                    <a:pt x="307" y="3710"/>
                  </a:cubicBezTo>
                  <a:cubicBezTo>
                    <a:pt x="284" y="3687"/>
                    <a:pt x="227" y="3710"/>
                    <a:pt x="199" y="3693"/>
                  </a:cubicBezTo>
                  <a:cubicBezTo>
                    <a:pt x="165" y="3676"/>
                    <a:pt x="148" y="3670"/>
                    <a:pt x="136" y="3631"/>
                  </a:cubicBezTo>
                  <a:cubicBezTo>
                    <a:pt x="131" y="3608"/>
                    <a:pt x="187" y="3551"/>
                    <a:pt x="125" y="3551"/>
                  </a:cubicBezTo>
                  <a:cubicBezTo>
                    <a:pt x="102" y="3551"/>
                    <a:pt x="91" y="3557"/>
                    <a:pt x="91" y="3528"/>
                  </a:cubicBezTo>
                  <a:cubicBezTo>
                    <a:pt x="91" y="3488"/>
                    <a:pt x="62" y="3523"/>
                    <a:pt x="45" y="3511"/>
                  </a:cubicBezTo>
                  <a:cubicBezTo>
                    <a:pt x="11" y="3506"/>
                    <a:pt x="11" y="3506"/>
                    <a:pt x="11" y="3506"/>
                  </a:cubicBezTo>
                  <a:lnTo>
                    <a:pt x="11" y="3506"/>
                  </a:lnTo>
                  <a:cubicBezTo>
                    <a:pt x="6" y="3494"/>
                    <a:pt x="0" y="3477"/>
                    <a:pt x="6" y="3472"/>
                  </a:cubicBezTo>
                  <a:cubicBezTo>
                    <a:pt x="11" y="3466"/>
                    <a:pt x="23" y="3466"/>
                    <a:pt x="28" y="3466"/>
                  </a:cubicBezTo>
                  <a:cubicBezTo>
                    <a:pt x="45" y="3460"/>
                    <a:pt x="57" y="3460"/>
                    <a:pt x="68" y="3454"/>
                  </a:cubicBezTo>
                  <a:cubicBezTo>
                    <a:pt x="85" y="3443"/>
                    <a:pt x="91" y="3437"/>
                    <a:pt x="97" y="3420"/>
                  </a:cubicBezTo>
                  <a:cubicBezTo>
                    <a:pt x="102" y="3398"/>
                    <a:pt x="142" y="3369"/>
                    <a:pt x="136" y="3346"/>
                  </a:cubicBezTo>
                  <a:cubicBezTo>
                    <a:pt x="125" y="3318"/>
                    <a:pt x="108" y="3284"/>
                    <a:pt x="102" y="3250"/>
                  </a:cubicBezTo>
                  <a:cubicBezTo>
                    <a:pt x="91" y="3176"/>
                    <a:pt x="176" y="3142"/>
                    <a:pt x="136" y="3051"/>
                  </a:cubicBezTo>
                  <a:cubicBezTo>
                    <a:pt x="119" y="3006"/>
                    <a:pt x="91" y="2989"/>
                    <a:pt x="68" y="2955"/>
                  </a:cubicBezTo>
                  <a:cubicBezTo>
                    <a:pt x="57" y="2943"/>
                    <a:pt x="51" y="2898"/>
                    <a:pt x="51" y="2881"/>
                  </a:cubicBezTo>
                  <a:cubicBezTo>
                    <a:pt x="51" y="2847"/>
                    <a:pt x="85" y="2869"/>
                    <a:pt x="102" y="2858"/>
                  </a:cubicBezTo>
                  <a:cubicBezTo>
                    <a:pt x="119" y="2852"/>
                    <a:pt x="108" y="2841"/>
                    <a:pt x="119" y="2829"/>
                  </a:cubicBezTo>
                  <a:cubicBezTo>
                    <a:pt x="131" y="2818"/>
                    <a:pt x="153" y="2818"/>
                    <a:pt x="170" y="2801"/>
                  </a:cubicBezTo>
                  <a:cubicBezTo>
                    <a:pt x="193" y="2784"/>
                    <a:pt x="176" y="2750"/>
                    <a:pt x="187" y="2727"/>
                  </a:cubicBezTo>
                  <a:cubicBezTo>
                    <a:pt x="199" y="2687"/>
                    <a:pt x="250" y="2705"/>
                    <a:pt x="261" y="2665"/>
                  </a:cubicBezTo>
                  <a:cubicBezTo>
                    <a:pt x="267" y="2642"/>
                    <a:pt x="273" y="2562"/>
                    <a:pt x="256" y="2551"/>
                  </a:cubicBezTo>
                  <a:cubicBezTo>
                    <a:pt x="244" y="2540"/>
                    <a:pt x="227" y="2528"/>
                    <a:pt x="244" y="2511"/>
                  </a:cubicBezTo>
                  <a:cubicBezTo>
                    <a:pt x="256" y="2500"/>
                    <a:pt x="267" y="2489"/>
                    <a:pt x="250" y="2472"/>
                  </a:cubicBezTo>
                  <a:cubicBezTo>
                    <a:pt x="227" y="2443"/>
                    <a:pt x="193" y="2432"/>
                    <a:pt x="210" y="2392"/>
                  </a:cubicBezTo>
                  <a:cubicBezTo>
                    <a:pt x="239" y="2381"/>
                    <a:pt x="244" y="2341"/>
                    <a:pt x="227" y="2318"/>
                  </a:cubicBezTo>
                  <a:cubicBezTo>
                    <a:pt x="187" y="2267"/>
                    <a:pt x="261" y="2273"/>
                    <a:pt x="284" y="2267"/>
                  </a:cubicBezTo>
                  <a:cubicBezTo>
                    <a:pt x="341" y="2250"/>
                    <a:pt x="341" y="2125"/>
                    <a:pt x="324" y="2085"/>
                  </a:cubicBezTo>
                  <a:cubicBezTo>
                    <a:pt x="295" y="2085"/>
                    <a:pt x="244" y="2114"/>
                    <a:pt x="233" y="2074"/>
                  </a:cubicBezTo>
                  <a:cubicBezTo>
                    <a:pt x="227" y="2034"/>
                    <a:pt x="244" y="2028"/>
                    <a:pt x="216" y="1994"/>
                  </a:cubicBezTo>
                  <a:cubicBezTo>
                    <a:pt x="159" y="1943"/>
                    <a:pt x="284" y="1886"/>
                    <a:pt x="295" y="1830"/>
                  </a:cubicBezTo>
                  <a:cubicBezTo>
                    <a:pt x="301" y="1830"/>
                    <a:pt x="301" y="1830"/>
                    <a:pt x="295" y="1835"/>
                  </a:cubicBezTo>
                  <a:cubicBezTo>
                    <a:pt x="318" y="1813"/>
                    <a:pt x="386" y="1841"/>
                    <a:pt x="386" y="1801"/>
                  </a:cubicBezTo>
                  <a:cubicBezTo>
                    <a:pt x="386" y="1773"/>
                    <a:pt x="398" y="1727"/>
                    <a:pt x="432" y="1727"/>
                  </a:cubicBezTo>
                  <a:cubicBezTo>
                    <a:pt x="460" y="1727"/>
                    <a:pt x="477" y="1722"/>
                    <a:pt x="483" y="1688"/>
                  </a:cubicBezTo>
                  <a:cubicBezTo>
                    <a:pt x="483" y="1665"/>
                    <a:pt x="540" y="1670"/>
                    <a:pt x="540" y="1636"/>
                  </a:cubicBezTo>
                  <a:cubicBezTo>
                    <a:pt x="540" y="1608"/>
                    <a:pt x="528" y="1551"/>
                    <a:pt x="511" y="1528"/>
                  </a:cubicBezTo>
                  <a:cubicBezTo>
                    <a:pt x="500" y="1506"/>
                    <a:pt x="523" y="1489"/>
                    <a:pt x="540" y="1489"/>
                  </a:cubicBezTo>
                  <a:cubicBezTo>
                    <a:pt x="551" y="1483"/>
                    <a:pt x="591" y="1443"/>
                    <a:pt x="597" y="1438"/>
                  </a:cubicBezTo>
                  <a:cubicBezTo>
                    <a:pt x="625" y="1404"/>
                    <a:pt x="602" y="1375"/>
                    <a:pt x="613" y="1347"/>
                  </a:cubicBezTo>
                  <a:cubicBezTo>
                    <a:pt x="619" y="1335"/>
                    <a:pt x="636" y="1318"/>
                    <a:pt x="636" y="1307"/>
                  </a:cubicBezTo>
                  <a:cubicBezTo>
                    <a:pt x="665" y="1250"/>
                    <a:pt x="665" y="1193"/>
                    <a:pt x="665" y="1131"/>
                  </a:cubicBezTo>
                  <a:cubicBezTo>
                    <a:pt x="665" y="1068"/>
                    <a:pt x="704" y="983"/>
                    <a:pt x="721" y="926"/>
                  </a:cubicBezTo>
                  <a:cubicBezTo>
                    <a:pt x="739" y="881"/>
                    <a:pt x="704" y="898"/>
                    <a:pt x="739" y="847"/>
                  </a:cubicBezTo>
                  <a:cubicBezTo>
                    <a:pt x="750" y="830"/>
                    <a:pt x="704" y="835"/>
                    <a:pt x="699" y="824"/>
                  </a:cubicBezTo>
                  <a:cubicBezTo>
                    <a:pt x="693" y="818"/>
                    <a:pt x="710" y="790"/>
                    <a:pt x="704" y="773"/>
                  </a:cubicBezTo>
                  <a:cubicBezTo>
                    <a:pt x="699" y="745"/>
                    <a:pt x="710" y="722"/>
                    <a:pt x="687" y="710"/>
                  </a:cubicBezTo>
                  <a:cubicBezTo>
                    <a:pt x="659" y="693"/>
                    <a:pt x="682" y="676"/>
                    <a:pt x="665" y="654"/>
                  </a:cubicBezTo>
                  <a:cubicBezTo>
                    <a:pt x="653" y="642"/>
                    <a:pt x="653" y="625"/>
                    <a:pt x="670" y="620"/>
                  </a:cubicBezTo>
                  <a:cubicBezTo>
                    <a:pt x="682" y="614"/>
                    <a:pt x="716" y="608"/>
                    <a:pt x="716" y="591"/>
                  </a:cubicBezTo>
                  <a:cubicBezTo>
                    <a:pt x="704" y="546"/>
                    <a:pt x="682" y="568"/>
                    <a:pt x="710" y="517"/>
                  </a:cubicBezTo>
                  <a:cubicBezTo>
                    <a:pt x="727" y="483"/>
                    <a:pt x="744" y="449"/>
                    <a:pt x="727" y="415"/>
                  </a:cubicBezTo>
                  <a:cubicBezTo>
                    <a:pt x="704" y="415"/>
                    <a:pt x="676" y="409"/>
                    <a:pt x="665" y="381"/>
                  </a:cubicBezTo>
                  <a:cubicBezTo>
                    <a:pt x="653" y="347"/>
                    <a:pt x="653" y="341"/>
                    <a:pt x="631" y="318"/>
                  </a:cubicBezTo>
                  <a:cubicBezTo>
                    <a:pt x="613" y="284"/>
                    <a:pt x="613" y="284"/>
                    <a:pt x="613" y="284"/>
                  </a:cubicBezTo>
                  <a:lnTo>
                    <a:pt x="613" y="284"/>
                  </a:lnTo>
                  <a:cubicBezTo>
                    <a:pt x="642" y="273"/>
                    <a:pt x="631" y="250"/>
                    <a:pt x="619" y="210"/>
                  </a:cubicBezTo>
                  <a:cubicBezTo>
                    <a:pt x="619" y="199"/>
                    <a:pt x="602" y="182"/>
                    <a:pt x="602" y="176"/>
                  </a:cubicBezTo>
                  <a:cubicBezTo>
                    <a:pt x="602" y="171"/>
                    <a:pt x="613" y="159"/>
                    <a:pt x="613" y="142"/>
                  </a:cubicBezTo>
                  <a:lnTo>
                    <a:pt x="613" y="142"/>
                  </a:lnTo>
                  <a:cubicBezTo>
                    <a:pt x="597" y="137"/>
                    <a:pt x="619" y="6"/>
                    <a:pt x="670" y="0"/>
                  </a:cubicBezTo>
                  <a:cubicBezTo>
                    <a:pt x="699" y="0"/>
                    <a:pt x="721" y="23"/>
                    <a:pt x="744" y="34"/>
                  </a:cubicBezTo>
                  <a:cubicBezTo>
                    <a:pt x="790" y="57"/>
                    <a:pt x="858" y="46"/>
                    <a:pt x="892" y="91"/>
                  </a:cubicBezTo>
                  <a:cubicBezTo>
                    <a:pt x="903" y="102"/>
                    <a:pt x="920" y="120"/>
                    <a:pt x="937" y="120"/>
                  </a:cubicBezTo>
                  <a:cubicBezTo>
                    <a:pt x="971" y="125"/>
                    <a:pt x="960" y="74"/>
                    <a:pt x="1000" y="114"/>
                  </a:cubicBezTo>
                  <a:cubicBezTo>
                    <a:pt x="1034" y="142"/>
                    <a:pt x="1096" y="120"/>
                    <a:pt x="1130" y="137"/>
                  </a:cubicBezTo>
                  <a:cubicBezTo>
                    <a:pt x="1187" y="159"/>
                    <a:pt x="1187" y="193"/>
                    <a:pt x="1216" y="239"/>
                  </a:cubicBezTo>
                  <a:cubicBezTo>
                    <a:pt x="1238" y="284"/>
                    <a:pt x="1284" y="210"/>
                    <a:pt x="1318" y="228"/>
                  </a:cubicBezTo>
                  <a:cubicBezTo>
                    <a:pt x="1346" y="250"/>
                    <a:pt x="1380" y="245"/>
                    <a:pt x="1415" y="239"/>
                  </a:cubicBezTo>
                  <a:cubicBezTo>
                    <a:pt x="1426" y="233"/>
                    <a:pt x="1443" y="233"/>
                    <a:pt x="1454" y="239"/>
                  </a:cubicBezTo>
                  <a:cubicBezTo>
                    <a:pt x="1460" y="245"/>
                    <a:pt x="1466" y="267"/>
                    <a:pt x="1488" y="279"/>
                  </a:cubicBezTo>
                  <a:cubicBezTo>
                    <a:pt x="1500" y="279"/>
                    <a:pt x="1528" y="341"/>
                    <a:pt x="1534" y="358"/>
                  </a:cubicBezTo>
                  <a:cubicBezTo>
                    <a:pt x="1551" y="387"/>
                    <a:pt x="1551" y="404"/>
                    <a:pt x="1568" y="438"/>
                  </a:cubicBezTo>
                  <a:lnTo>
                    <a:pt x="1568" y="438"/>
                  </a:lnTo>
                  <a:cubicBezTo>
                    <a:pt x="1568" y="438"/>
                    <a:pt x="1568" y="443"/>
                    <a:pt x="1562" y="443"/>
                  </a:cubicBezTo>
                  <a:cubicBezTo>
                    <a:pt x="1562" y="449"/>
                    <a:pt x="1551" y="455"/>
                    <a:pt x="1551" y="466"/>
                  </a:cubicBezTo>
                  <a:cubicBezTo>
                    <a:pt x="1551" y="478"/>
                    <a:pt x="1574" y="478"/>
                    <a:pt x="1574" y="489"/>
                  </a:cubicBezTo>
                  <a:cubicBezTo>
                    <a:pt x="1562" y="489"/>
                    <a:pt x="1528" y="534"/>
                    <a:pt x="1551" y="534"/>
                  </a:cubicBezTo>
                  <a:cubicBezTo>
                    <a:pt x="1596" y="534"/>
                    <a:pt x="1613" y="586"/>
                    <a:pt x="1574" y="608"/>
                  </a:cubicBezTo>
                  <a:cubicBezTo>
                    <a:pt x="1551" y="620"/>
                    <a:pt x="1540" y="614"/>
                    <a:pt x="1562" y="642"/>
                  </a:cubicBezTo>
                  <a:cubicBezTo>
                    <a:pt x="1585" y="676"/>
                    <a:pt x="1585" y="705"/>
                    <a:pt x="1630" y="710"/>
                  </a:cubicBezTo>
                  <a:cubicBezTo>
                    <a:pt x="1670" y="716"/>
                    <a:pt x="1687" y="682"/>
                    <a:pt x="1721" y="682"/>
                  </a:cubicBezTo>
                  <a:cubicBezTo>
                    <a:pt x="1756" y="676"/>
                    <a:pt x="1818" y="671"/>
                    <a:pt x="1835" y="642"/>
                  </a:cubicBezTo>
                  <a:cubicBezTo>
                    <a:pt x="1852" y="597"/>
                    <a:pt x="1880" y="625"/>
                    <a:pt x="1920" y="602"/>
                  </a:cubicBezTo>
                  <a:lnTo>
                    <a:pt x="1920" y="602"/>
                  </a:lnTo>
                  <a:cubicBezTo>
                    <a:pt x="1954" y="614"/>
                    <a:pt x="1954" y="614"/>
                    <a:pt x="1954" y="614"/>
                  </a:cubicBezTo>
                  <a:cubicBezTo>
                    <a:pt x="1977" y="620"/>
                    <a:pt x="2006" y="614"/>
                    <a:pt x="2034" y="620"/>
                  </a:cubicBezTo>
                  <a:cubicBezTo>
                    <a:pt x="2062" y="625"/>
                    <a:pt x="2051" y="654"/>
                    <a:pt x="2074" y="659"/>
                  </a:cubicBezTo>
                  <a:cubicBezTo>
                    <a:pt x="2096" y="671"/>
                    <a:pt x="2096" y="659"/>
                    <a:pt x="2113" y="682"/>
                  </a:cubicBezTo>
                  <a:cubicBezTo>
                    <a:pt x="2130" y="710"/>
                    <a:pt x="2165" y="654"/>
                    <a:pt x="2187" y="699"/>
                  </a:cubicBezTo>
                  <a:cubicBezTo>
                    <a:pt x="2204" y="745"/>
                    <a:pt x="2210" y="818"/>
                    <a:pt x="2272" y="830"/>
                  </a:cubicBezTo>
                  <a:cubicBezTo>
                    <a:pt x="2341" y="847"/>
                    <a:pt x="2369" y="813"/>
                    <a:pt x="2403" y="761"/>
                  </a:cubicBezTo>
                  <a:cubicBezTo>
                    <a:pt x="2420" y="750"/>
                    <a:pt x="2432" y="733"/>
                    <a:pt x="2449" y="727"/>
                  </a:cubicBezTo>
                  <a:cubicBezTo>
                    <a:pt x="2466" y="716"/>
                    <a:pt x="2488" y="745"/>
                    <a:pt x="2522" y="733"/>
                  </a:cubicBezTo>
                  <a:cubicBezTo>
                    <a:pt x="2551" y="716"/>
                    <a:pt x="2596" y="705"/>
                    <a:pt x="2636" y="722"/>
                  </a:cubicBezTo>
                  <a:cubicBezTo>
                    <a:pt x="2670" y="733"/>
                    <a:pt x="2681" y="767"/>
                    <a:pt x="2727" y="773"/>
                  </a:cubicBezTo>
                  <a:cubicBezTo>
                    <a:pt x="2778" y="784"/>
                    <a:pt x="2772" y="779"/>
                    <a:pt x="2789" y="824"/>
                  </a:cubicBezTo>
                  <a:cubicBezTo>
                    <a:pt x="2801" y="841"/>
                    <a:pt x="2880" y="881"/>
                    <a:pt x="2903" y="875"/>
                  </a:cubicBezTo>
                  <a:cubicBezTo>
                    <a:pt x="2920" y="864"/>
                    <a:pt x="2920" y="841"/>
                    <a:pt x="2937" y="841"/>
                  </a:cubicBezTo>
                  <a:cubicBezTo>
                    <a:pt x="2966" y="830"/>
                    <a:pt x="2977" y="852"/>
                    <a:pt x="3000" y="852"/>
                  </a:cubicBezTo>
                  <a:cubicBezTo>
                    <a:pt x="3028" y="852"/>
                    <a:pt x="3125" y="875"/>
                    <a:pt x="3062" y="824"/>
                  </a:cubicBezTo>
                  <a:cubicBezTo>
                    <a:pt x="3028" y="796"/>
                    <a:pt x="3147" y="710"/>
                    <a:pt x="3170" y="727"/>
                  </a:cubicBezTo>
                  <a:cubicBezTo>
                    <a:pt x="3187" y="739"/>
                    <a:pt x="3204" y="756"/>
                    <a:pt x="3233" y="733"/>
                  </a:cubicBezTo>
                  <a:cubicBezTo>
                    <a:pt x="3255" y="710"/>
                    <a:pt x="3289" y="665"/>
                    <a:pt x="3324" y="665"/>
                  </a:cubicBezTo>
                  <a:cubicBezTo>
                    <a:pt x="3335" y="665"/>
                    <a:pt x="3346" y="676"/>
                    <a:pt x="3358" y="676"/>
                  </a:cubicBezTo>
                  <a:cubicBezTo>
                    <a:pt x="3386" y="676"/>
                    <a:pt x="3392" y="620"/>
                    <a:pt x="3426" y="642"/>
                  </a:cubicBezTo>
                  <a:cubicBezTo>
                    <a:pt x="3466" y="676"/>
                    <a:pt x="3511" y="614"/>
                    <a:pt x="3539" y="676"/>
                  </a:cubicBezTo>
                  <a:cubicBezTo>
                    <a:pt x="3573" y="745"/>
                    <a:pt x="3630" y="705"/>
                    <a:pt x="3687" y="710"/>
                  </a:cubicBezTo>
                  <a:lnTo>
                    <a:pt x="3687" y="710"/>
                  </a:lnTo>
                  <a:cubicBezTo>
                    <a:pt x="3681" y="779"/>
                    <a:pt x="3670" y="881"/>
                    <a:pt x="3744" y="852"/>
                  </a:cubicBezTo>
                  <a:cubicBezTo>
                    <a:pt x="3784" y="835"/>
                    <a:pt x="3829" y="892"/>
                    <a:pt x="3875" y="892"/>
                  </a:cubicBezTo>
                  <a:lnTo>
                    <a:pt x="3875" y="892"/>
                  </a:lnTo>
                  <a:cubicBezTo>
                    <a:pt x="3875" y="898"/>
                    <a:pt x="3875" y="898"/>
                    <a:pt x="3875" y="898"/>
                  </a:cubicBezTo>
                  <a:cubicBezTo>
                    <a:pt x="3863" y="909"/>
                    <a:pt x="3846" y="938"/>
                    <a:pt x="3841" y="955"/>
                  </a:cubicBezTo>
                  <a:cubicBezTo>
                    <a:pt x="3829" y="989"/>
                    <a:pt x="3852" y="983"/>
                    <a:pt x="3818" y="1006"/>
                  </a:cubicBezTo>
                  <a:cubicBezTo>
                    <a:pt x="3784" y="1034"/>
                    <a:pt x="3750" y="1051"/>
                    <a:pt x="3716" y="1029"/>
                  </a:cubicBezTo>
                  <a:cubicBezTo>
                    <a:pt x="3693" y="1017"/>
                    <a:pt x="3670" y="995"/>
                    <a:pt x="3647" y="1029"/>
                  </a:cubicBezTo>
                  <a:cubicBezTo>
                    <a:pt x="3613" y="1085"/>
                    <a:pt x="3608" y="1171"/>
                    <a:pt x="3647" y="1222"/>
                  </a:cubicBezTo>
                  <a:cubicBezTo>
                    <a:pt x="3676" y="1256"/>
                    <a:pt x="3704" y="1250"/>
                    <a:pt x="3733" y="1301"/>
                  </a:cubicBezTo>
                  <a:cubicBezTo>
                    <a:pt x="3755" y="1352"/>
                    <a:pt x="3704" y="1404"/>
                    <a:pt x="3750" y="1455"/>
                  </a:cubicBezTo>
                  <a:cubicBezTo>
                    <a:pt x="3778" y="1483"/>
                    <a:pt x="3784" y="1489"/>
                    <a:pt x="3755" y="1528"/>
                  </a:cubicBezTo>
                  <a:cubicBezTo>
                    <a:pt x="3750" y="1551"/>
                    <a:pt x="3733" y="1602"/>
                    <a:pt x="3721" y="1614"/>
                  </a:cubicBezTo>
                  <a:cubicBezTo>
                    <a:pt x="3699" y="1631"/>
                    <a:pt x="3676" y="1676"/>
                    <a:pt x="3653" y="1682"/>
                  </a:cubicBezTo>
                  <a:cubicBezTo>
                    <a:pt x="3636" y="1688"/>
                    <a:pt x="3613" y="1688"/>
                    <a:pt x="3602" y="1705"/>
                  </a:cubicBezTo>
                  <a:cubicBezTo>
                    <a:pt x="3579" y="1727"/>
                    <a:pt x="3573" y="1761"/>
                    <a:pt x="3551" y="1784"/>
                  </a:cubicBezTo>
                  <a:cubicBezTo>
                    <a:pt x="3511" y="1818"/>
                    <a:pt x="3471" y="1813"/>
                    <a:pt x="3437" y="1858"/>
                  </a:cubicBezTo>
                  <a:cubicBezTo>
                    <a:pt x="3392" y="1920"/>
                    <a:pt x="3329" y="1898"/>
                    <a:pt x="3278" y="1938"/>
                  </a:cubicBezTo>
                  <a:cubicBezTo>
                    <a:pt x="3233" y="1966"/>
                    <a:pt x="3233" y="1994"/>
                    <a:pt x="3187" y="2011"/>
                  </a:cubicBezTo>
                  <a:cubicBezTo>
                    <a:pt x="3079" y="2063"/>
                    <a:pt x="3079" y="2063"/>
                    <a:pt x="3079" y="2063"/>
                  </a:cubicBezTo>
                  <a:cubicBezTo>
                    <a:pt x="2977" y="2102"/>
                    <a:pt x="2880" y="2136"/>
                    <a:pt x="2795" y="2210"/>
                  </a:cubicBezTo>
                  <a:cubicBezTo>
                    <a:pt x="2738" y="2256"/>
                    <a:pt x="2681" y="2261"/>
                    <a:pt x="2625" y="2296"/>
                  </a:cubicBezTo>
                  <a:cubicBezTo>
                    <a:pt x="2596" y="2307"/>
                    <a:pt x="2585" y="2335"/>
                    <a:pt x="2562" y="2352"/>
                  </a:cubicBezTo>
                  <a:cubicBezTo>
                    <a:pt x="2517" y="2392"/>
                    <a:pt x="2471" y="2494"/>
                    <a:pt x="2437" y="2551"/>
                  </a:cubicBezTo>
                  <a:cubicBezTo>
                    <a:pt x="2398" y="2619"/>
                    <a:pt x="2284" y="2625"/>
                    <a:pt x="2216" y="2631"/>
                  </a:cubicBezTo>
                  <a:cubicBezTo>
                    <a:pt x="2153" y="2642"/>
                    <a:pt x="2108" y="2659"/>
                    <a:pt x="2057" y="2682"/>
                  </a:cubicBezTo>
                  <a:cubicBezTo>
                    <a:pt x="2022" y="2699"/>
                    <a:pt x="1994" y="2699"/>
                    <a:pt x="1966" y="2705"/>
                  </a:cubicBezTo>
                  <a:cubicBezTo>
                    <a:pt x="1869" y="2750"/>
                    <a:pt x="1772" y="2756"/>
                    <a:pt x="1676" y="2778"/>
                  </a:cubicBezTo>
                  <a:cubicBezTo>
                    <a:pt x="1596" y="2795"/>
                    <a:pt x="1540" y="2852"/>
                    <a:pt x="1454" y="2852"/>
                  </a:cubicBezTo>
                  <a:cubicBezTo>
                    <a:pt x="1415" y="2852"/>
                    <a:pt x="1375" y="2875"/>
                    <a:pt x="1341" y="2892"/>
                  </a:cubicBezTo>
                  <a:cubicBezTo>
                    <a:pt x="1318" y="2898"/>
                    <a:pt x="1284" y="2915"/>
                    <a:pt x="1267" y="2932"/>
                  </a:cubicBezTo>
                  <a:cubicBezTo>
                    <a:pt x="1244" y="2949"/>
                    <a:pt x="1256" y="2966"/>
                    <a:pt x="1250" y="2977"/>
                  </a:cubicBezTo>
                  <a:cubicBezTo>
                    <a:pt x="1238" y="2989"/>
                    <a:pt x="1199" y="2943"/>
                    <a:pt x="1176" y="2943"/>
                  </a:cubicBezTo>
                  <a:cubicBezTo>
                    <a:pt x="1074" y="2943"/>
                    <a:pt x="971" y="3040"/>
                    <a:pt x="903" y="3108"/>
                  </a:cubicBezTo>
                  <a:cubicBezTo>
                    <a:pt x="869" y="3136"/>
                    <a:pt x="795" y="3273"/>
                    <a:pt x="761" y="3284"/>
                  </a:cubicBezTo>
                  <a:cubicBezTo>
                    <a:pt x="761" y="3284"/>
                    <a:pt x="761" y="3284"/>
                    <a:pt x="761" y="3278"/>
                  </a:cubicBezTo>
                  <a:cubicBezTo>
                    <a:pt x="699" y="3341"/>
                    <a:pt x="699" y="3341"/>
                    <a:pt x="699" y="3341"/>
                  </a:cubicBezTo>
                  <a:cubicBezTo>
                    <a:pt x="648" y="3386"/>
                    <a:pt x="648" y="3386"/>
                    <a:pt x="648" y="3386"/>
                  </a:cubicBezTo>
                  <a:cubicBezTo>
                    <a:pt x="653" y="3386"/>
                    <a:pt x="676" y="3420"/>
                    <a:pt x="693" y="3426"/>
                  </a:cubicBezTo>
                  <a:cubicBezTo>
                    <a:pt x="716" y="3437"/>
                    <a:pt x="739" y="3449"/>
                    <a:pt x="761" y="3454"/>
                  </a:cubicBezTo>
                  <a:cubicBezTo>
                    <a:pt x="818" y="3466"/>
                    <a:pt x="807" y="3511"/>
                    <a:pt x="881" y="3511"/>
                  </a:cubicBezTo>
                  <a:cubicBezTo>
                    <a:pt x="881" y="3545"/>
                    <a:pt x="852" y="3574"/>
                    <a:pt x="824" y="3591"/>
                  </a:cubicBezTo>
                  <a:cubicBezTo>
                    <a:pt x="739" y="3642"/>
                    <a:pt x="739" y="3642"/>
                    <a:pt x="739" y="3642"/>
                  </a:cubicBezTo>
                  <a:cubicBezTo>
                    <a:pt x="693" y="3665"/>
                    <a:pt x="545" y="3653"/>
                    <a:pt x="517" y="3693"/>
                  </a:cubicBezTo>
                  <a:cubicBezTo>
                    <a:pt x="489" y="3738"/>
                    <a:pt x="460" y="3807"/>
                    <a:pt x="426" y="3841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7" name="Freeform 158"/>
            <p:cNvSpPr>
              <a:spLocks noChangeArrowheads="1"/>
            </p:cNvSpPr>
            <p:nvPr/>
          </p:nvSpPr>
          <p:spPr bwMode="auto">
            <a:xfrm>
              <a:off x="17630222" y="8689987"/>
              <a:ext cx="1400056" cy="1494709"/>
            </a:xfrm>
            <a:custGeom>
              <a:avLst/>
              <a:gdLst>
                <a:gd name="T0" fmla="*/ 0 w 2023"/>
                <a:gd name="T1" fmla="*/ 1147 h 2159"/>
                <a:gd name="T2" fmla="*/ 51 w 2023"/>
                <a:gd name="T3" fmla="*/ 1056 h 2159"/>
                <a:gd name="T4" fmla="*/ 148 w 2023"/>
                <a:gd name="T5" fmla="*/ 909 h 2159"/>
                <a:gd name="T6" fmla="*/ 347 w 2023"/>
                <a:gd name="T7" fmla="*/ 738 h 2159"/>
                <a:gd name="T8" fmla="*/ 636 w 2023"/>
                <a:gd name="T9" fmla="*/ 659 h 2159"/>
                <a:gd name="T10" fmla="*/ 824 w 2023"/>
                <a:gd name="T11" fmla="*/ 687 h 2159"/>
                <a:gd name="T12" fmla="*/ 1057 w 2023"/>
                <a:gd name="T13" fmla="*/ 522 h 2159"/>
                <a:gd name="T14" fmla="*/ 1045 w 2023"/>
                <a:gd name="T15" fmla="*/ 306 h 2159"/>
                <a:gd name="T16" fmla="*/ 1170 w 2023"/>
                <a:gd name="T17" fmla="*/ 108 h 2159"/>
                <a:gd name="T18" fmla="*/ 1295 w 2023"/>
                <a:gd name="T19" fmla="*/ 85 h 2159"/>
                <a:gd name="T20" fmla="*/ 1494 w 2023"/>
                <a:gd name="T21" fmla="*/ 39 h 2159"/>
                <a:gd name="T22" fmla="*/ 1568 w 2023"/>
                <a:gd name="T23" fmla="*/ 136 h 2159"/>
                <a:gd name="T24" fmla="*/ 1636 w 2023"/>
                <a:gd name="T25" fmla="*/ 164 h 2159"/>
                <a:gd name="T26" fmla="*/ 1636 w 2023"/>
                <a:gd name="T27" fmla="*/ 193 h 2159"/>
                <a:gd name="T28" fmla="*/ 1636 w 2023"/>
                <a:gd name="T29" fmla="*/ 250 h 2159"/>
                <a:gd name="T30" fmla="*/ 1625 w 2023"/>
                <a:gd name="T31" fmla="*/ 403 h 2159"/>
                <a:gd name="T32" fmla="*/ 1557 w 2023"/>
                <a:gd name="T33" fmla="*/ 647 h 2159"/>
                <a:gd name="T34" fmla="*/ 1602 w 2023"/>
                <a:gd name="T35" fmla="*/ 1028 h 2159"/>
                <a:gd name="T36" fmla="*/ 1824 w 2023"/>
                <a:gd name="T37" fmla="*/ 1375 h 2159"/>
                <a:gd name="T38" fmla="*/ 1943 w 2023"/>
                <a:gd name="T39" fmla="*/ 1443 h 2159"/>
                <a:gd name="T40" fmla="*/ 1903 w 2023"/>
                <a:gd name="T41" fmla="*/ 1494 h 2159"/>
                <a:gd name="T42" fmla="*/ 1846 w 2023"/>
                <a:gd name="T43" fmla="*/ 1664 h 2159"/>
                <a:gd name="T44" fmla="*/ 2017 w 2023"/>
                <a:gd name="T45" fmla="*/ 1755 h 2159"/>
                <a:gd name="T46" fmla="*/ 1818 w 2023"/>
                <a:gd name="T47" fmla="*/ 1840 h 2159"/>
                <a:gd name="T48" fmla="*/ 1653 w 2023"/>
                <a:gd name="T49" fmla="*/ 1840 h 2159"/>
                <a:gd name="T50" fmla="*/ 1534 w 2023"/>
                <a:gd name="T51" fmla="*/ 1840 h 2159"/>
                <a:gd name="T52" fmla="*/ 1511 w 2023"/>
                <a:gd name="T53" fmla="*/ 1908 h 2159"/>
                <a:gd name="T54" fmla="*/ 1324 w 2023"/>
                <a:gd name="T55" fmla="*/ 1869 h 2159"/>
                <a:gd name="T56" fmla="*/ 1091 w 2023"/>
                <a:gd name="T57" fmla="*/ 1988 h 2159"/>
                <a:gd name="T58" fmla="*/ 875 w 2023"/>
                <a:gd name="T59" fmla="*/ 2158 h 2159"/>
                <a:gd name="T60" fmla="*/ 750 w 2023"/>
                <a:gd name="T61" fmla="*/ 2050 h 2159"/>
                <a:gd name="T62" fmla="*/ 494 w 2023"/>
                <a:gd name="T63" fmla="*/ 1852 h 2159"/>
                <a:gd name="T64" fmla="*/ 415 w 2023"/>
                <a:gd name="T65" fmla="*/ 1647 h 2159"/>
                <a:gd name="T66" fmla="*/ 420 w 2023"/>
                <a:gd name="T67" fmla="*/ 1562 h 2159"/>
                <a:gd name="T68" fmla="*/ 454 w 2023"/>
                <a:gd name="T69" fmla="*/ 1380 h 2159"/>
                <a:gd name="T70" fmla="*/ 341 w 2023"/>
                <a:gd name="T71" fmla="*/ 1369 h 2159"/>
                <a:gd name="T72" fmla="*/ 102 w 2023"/>
                <a:gd name="T73" fmla="*/ 1278 h 2159"/>
                <a:gd name="T74" fmla="*/ 0 w 2023"/>
                <a:gd name="T75" fmla="*/ 1147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23" h="2159">
                  <a:moveTo>
                    <a:pt x="0" y="1147"/>
                  </a:moveTo>
                  <a:lnTo>
                    <a:pt x="0" y="1147"/>
                  </a:lnTo>
                  <a:cubicBezTo>
                    <a:pt x="6" y="1107"/>
                    <a:pt x="6" y="1107"/>
                    <a:pt x="6" y="1107"/>
                  </a:cubicBezTo>
                  <a:cubicBezTo>
                    <a:pt x="23" y="1096"/>
                    <a:pt x="40" y="1073"/>
                    <a:pt x="51" y="1056"/>
                  </a:cubicBezTo>
                  <a:cubicBezTo>
                    <a:pt x="79" y="1028"/>
                    <a:pt x="97" y="1022"/>
                    <a:pt x="119" y="988"/>
                  </a:cubicBezTo>
                  <a:cubicBezTo>
                    <a:pt x="136" y="960"/>
                    <a:pt x="142" y="943"/>
                    <a:pt x="148" y="909"/>
                  </a:cubicBezTo>
                  <a:cubicBezTo>
                    <a:pt x="153" y="863"/>
                    <a:pt x="210" y="835"/>
                    <a:pt x="250" y="829"/>
                  </a:cubicBezTo>
                  <a:cubicBezTo>
                    <a:pt x="312" y="818"/>
                    <a:pt x="312" y="789"/>
                    <a:pt x="347" y="738"/>
                  </a:cubicBezTo>
                  <a:cubicBezTo>
                    <a:pt x="381" y="710"/>
                    <a:pt x="375" y="727"/>
                    <a:pt x="403" y="738"/>
                  </a:cubicBezTo>
                  <a:cubicBezTo>
                    <a:pt x="420" y="795"/>
                    <a:pt x="613" y="676"/>
                    <a:pt x="636" y="659"/>
                  </a:cubicBezTo>
                  <a:cubicBezTo>
                    <a:pt x="716" y="619"/>
                    <a:pt x="716" y="602"/>
                    <a:pt x="795" y="613"/>
                  </a:cubicBezTo>
                  <a:cubicBezTo>
                    <a:pt x="812" y="642"/>
                    <a:pt x="795" y="653"/>
                    <a:pt x="824" y="687"/>
                  </a:cubicBezTo>
                  <a:cubicBezTo>
                    <a:pt x="869" y="738"/>
                    <a:pt x="954" y="687"/>
                    <a:pt x="994" y="659"/>
                  </a:cubicBezTo>
                  <a:cubicBezTo>
                    <a:pt x="1062" y="602"/>
                    <a:pt x="1034" y="596"/>
                    <a:pt x="1057" y="522"/>
                  </a:cubicBezTo>
                  <a:cubicBezTo>
                    <a:pt x="1051" y="494"/>
                    <a:pt x="1057" y="466"/>
                    <a:pt x="1051" y="437"/>
                  </a:cubicBezTo>
                  <a:cubicBezTo>
                    <a:pt x="1040" y="409"/>
                    <a:pt x="1022" y="335"/>
                    <a:pt x="1045" y="306"/>
                  </a:cubicBezTo>
                  <a:cubicBezTo>
                    <a:pt x="1079" y="272"/>
                    <a:pt x="1096" y="301"/>
                    <a:pt x="1096" y="238"/>
                  </a:cubicBezTo>
                  <a:cubicBezTo>
                    <a:pt x="1096" y="193"/>
                    <a:pt x="1125" y="125"/>
                    <a:pt x="1170" y="108"/>
                  </a:cubicBezTo>
                  <a:cubicBezTo>
                    <a:pt x="1199" y="90"/>
                    <a:pt x="1199" y="102"/>
                    <a:pt x="1216" y="119"/>
                  </a:cubicBezTo>
                  <a:cubicBezTo>
                    <a:pt x="1238" y="136"/>
                    <a:pt x="1278" y="96"/>
                    <a:pt x="1295" y="85"/>
                  </a:cubicBezTo>
                  <a:cubicBezTo>
                    <a:pt x="1312" y="73"/>
                    <a:pt x="1318" y="62"/>
                    <a:pt x="1335" y="45"/>
                  </a:cubicBezTo>
                  <a:cubicBezTo>
                    <a:pt x="1358" y="17"/>
                    <a:pt x="1483" y="0"/>
                    <a:pt x="1494" y="39"/>
                  </a:cubicBezTo>
                  <a:cubicBezTo>
                    <a:pt x="1506" y="73"/>
                    <a:pt x="1506" y="85"/>
                    <a:pt x="1534" y="108"/>
                  </a:cubicBezTo>
                  <a:cubicBezTo>
                    <a:pt x="1545" y="119"/>
                    <a:pt x="1557" y="125"/>
                    <a:pt x="1568" y="136"/>
                  </a:cubicBezTo>
                  <a:cubicBezTo>
                    <a:pt x="1579" y="147"/>
                    <a:pt x="1602" y="147"/>
                    <a:pt x="1608" y="159"/>
                  </a:cubicBezTo>
                  <a:cubicBezTo>
                    <a:pt x="1636" y="164"/>
                    <a:pt x="1636" y="164"/>
                    <a:pt x="1636" y="164"/>
                  </a:cubicBezTo>
                  <a:lnTo>
                    <a:pt x="1636" y="164"/>
                  </a:lnTo>
                  <a:cubicBezTo>
                    <a:pt x="1636" y="193"/>
                    <a:pt x="1636" y="193"/>
                    <a:pt x="1636" y="193"/>
                  </a:cubicBezTo>
                  <a:cubicBezTo>
                    <a:pt x="1630" y="198"/>
                    <a:pt x="1630" y="204"/>
                    <a:pt x="1630" y="216"/>
                  </a:cubicBezTo>
                  <a:cubicBezTo>
                    <a:pt x="1630" y="227"/>
                    <a:pt x="1636" y="238"/>
                    <a:pt x="1636" y="250"/>
                  </a:cubicBezTo>
                  <a:cubicBezTo>
                    <a:pt x="1642" y="272"/>
                    <a:pt x="1648" y="312"/>
                    <a:pt x="1630" y="329"/>
                  </a:cubicBezTo>
                  <a:cubicBezTo>
                    <a:pt x="1625" y="358"/>
                    <a:pt x="1619" y="375"/>
                    <a:pt x="1625" y="403"/>
                  </a:cubicBezTo>
                  <a:cubicBezTo>
                    <a:pt x="1636" y="426"/>
                    <a:pt x="1591" y="460"/>
                    <a:pt x="1574" y="471"/>
                  </a:cubicBezTo>
                  <a:cubicBezTo>
                    <a:pt x="1534" y="500"/>
                    <a:pt x="1511" y="636"/>
                    <a:pt x="1557" y="647"/>
                  </a:cubicBezTo>
                  <a:cubicBezTo>
                    <a:pt x="1602" y="659"/>
                    <a:pt x="1630" y="653"/>
                    <a:pt x="1659" y="698"/>
                  </a:cubicBezTo>
                  <a:cubicBezTo>
                    <a:pt x="1721" y="823"/>
                    <a:pt x="1602" y="920"/>
                    <a:pt x="1602" y="1028"/>
                  </a:cubicBezTo>
                  <a:cubicBezTo>
                    <a:pt x="1602" y="1073"/>
                    <a:pt x="1648" y="1102"/>
                    <a:pt x="1670" y="1141"/>
                  </a:cubicBezTo>
                  <a:cubicBezTo>
                    <a:pt x="1716" y="1215"/>
                    <a:pt x="1756" y="1318"/>
                    <a:pt x="1824" y="1375"/>
                  </a:cubicBezTo>
                  <a:cubicBezTo>
                    <a:pt x="1863" y="1409"/>
                    <a:pt x="1898" y="1420"/>
                    <a:pt x="1943" y="1443"/>
                  </a:cubicBezTo>
                  <a:lnTo>
                    <a:pt x="1943" y="1443"/>
                  </a:lnTo>
                  <a:cubicBezTo>
                    <a:pt x="1943" y="1477"/>
                    <a:pt x="1943" y="1511"/>
                    <a:pt x="1943" y="1511"/>
                  </a:cubicBezTo>
                  <a:cubicBezTo>
                    <a:pt x="1937" y="1505"/>
                    <a:pt x="1903" y="1471"/>
                    <a:pt x="1903" y="1494"/>
                  </a:cubicBezTo>
                  <a:cubicBezTo>
                    <a:pt x="1903" y="1511"/>
                    <a:pt x="1875" y="1551"/>
                    <a:pt x="1863" y="1556"/>
                  </a:cubicBezTo>
                  <a:cubicBezTo>
                    <a:pt x="1829" y="1607"/>
                    <a:pt x="1790" y="1613"/>
                    <a:pt x="1846" y="1664"/>
                  </a:cubicBezTo>
                  <a:cubicBezTo>
                    <a:pt x="1875" y="1693"/>
                    <a:pt x="1909" y="1727"/>
                    <a:pt x="1949" y="1738"/>
                  </a:cubicBezTo>
                  <a:cubicBezTo>
                    <a:pt x="1960" y="1738"/>
                    <a:pt x="2017" y="1749"/>
                    <a:pt x="2017" y="1755"/>
                  </a:cubicBezTo>
                  <a:cubicBezTo>
                    <a:pt x="2022" y="1755"/>
                    <a:pt x="2022" y="1755"/>
                    <a:pt x="2022" y="1755"/>
                  </a:cubicBezTo>
                  <a:cubicBezTo>
                    <a:pt x="2022" y="1818"/>
                    <a:pt x="1852" y="1829"/>
                    <a:pt x="1818" y="1840"/>
                  </a:cubicBezTo>
                  <a:cubicBezTo>
                    <a:pt x="1784" y="1857"/>
                    <a:pt x="1767" y="1880"/>
                    <a:pt x="1727" y="1874"/>
                  </a:cubicBezTo>
                  <a:cubicBezTo>
                    <a:pt x="1693" y="1869"/>
                    <a:pt x="1676" y="1840"/>
                    <a:pt x="1653" y="1840"/>
                  </a:cubicBezTo>
                  <a:cubicBezTo>
                    <a:pt x="1636" y="1840"/>
                    <a:pt x="1613" y="1857"/>
                    <a:pt x="1596" y="1846"/>
                  </a:cubicBezTo>
                  <a:cubicBezTo>
                    <a:pt x="1579" y="1829"/>
                    <a:pt x="1557" y="1823"/>
                    <a:pt x="1534" y="1840"/>
                  </a:cubicBezTo>
                  <a:cubicBezTo>
                    <a:pt x="1506" y="1869"/>
                    <a:pt x="1511" y="1880"/>
                    <a:pt x="1511" y="1908"/>
                  </a:cubicBezTo>
                  <a:lnTo>
                    <a:pt x="1511" y="1908"/>
                  </a:lnTo>
                  <a:cubicBezTo>
                    <a:pt x="1449" y="1886"/>
                    <a:pt x="1449" y="1886"/>
                    <a:pt x="1449" y="1886"/>
                  </a:cubicBezTo>
                  <a:cubicBezTo>
                    <a:pt x="1398" y="1863"/>
                    <a:pt x="1386" y="1829"/>
                    <a:pt x="1324" y="1869"/>
                  </a:cubicBezTo>
                  <a:cubicBezTo>
                    <a:pt x="1267" y="1903"/>
                    <a:pt x="1244" y="1852"/>
                    <a:pt x="1182" y="1914"/>
                  </a:cubicBezTo>
                  <a:cubicBezTo>
                    <a:pt x="1159" y="1942"/>
                    <a:pt x="1113" y="1960"/>
                    <a:pt x="1091" y="1988"/>
                  </a:cubicBezTo>
                  <a:cubicBezTo>
                    <a:pt x="1051" y="2050"/>
                    <a:pt x="1085" y="2073"/>
                    <a:pt x="1011" y="2090"/>
                  </a:cubicBezTo>
                  <a:cubicBezTo>
                    <a:pt x="960" y="2096"/>
                    <a:pt x="915" y="2124"/>
                    <a:pt x="875" y="2158"/>
                  </a:cubicBezTo>
                  <a:lnTo>
                    <a:pt x="875" y="2158"/>
                  </a:lnTo>
                  <a:cubicBezTo>
                    <a:pt x="750" y="2050"/>
                    <a:pt x="750" y="2050"/>
                    <a:pt x="750" y="2050"/>
                  </a:cubicBezTo>
                  <a:cubicBezTo>
                    <a:pt x="716" y="2056"/>
                    <a:pt x="710" y="2039"/>
                    <a:pt x="676" y="2050"/>
                  </a:cubicBezTo>
                  <a:cubicBezTo>
                    <a:pt x="625" y="2079"/>
                    <a:pt x="523" y="1897"/>
                    <a:pt x="494" y="1852"/>
                  </a:cubicBezTo>
                  <a:cubicBezTo>
                    <a:pt x="471" y="1818"/>
                    <a:pt x="432" y="1761"/>
                    <a:pt x="420" y="1721"/>
                  </a:cubicBezTo>
                  <a:cubicBezTo>
                    <a:pt x="415" y="1693"/>
                    <a:pt x="415" y="1676"/>
                    <a:pt x="415" y="1647"/>
                  </a:cubicBezTo>
                  <a:cubicBezTo>
                    <a:pt x="415" y="1636"/>
                    <a:pt x="420" y="1625"/>
                    <a:pt x="426" y="1607"/>
                  </a:cubicBezTo>
                  <a:cubicBezTo>
                    <a:pt x="432" y="1590"/>
                    <a:pt x="420" y="1579"/>
                    <a:pt x="420" y="1562"/>
                  </a:cubicBezTo>
                  <a:cubicBezTo>
                    <a:pt x="426" y="1534"/>
                    <a:pt x="409" y="1477"/>
                    <a:pt x="420" y="1454"/>
                  </a:cubicBezTo>
                  <a:cubicBezTo>
                    <a:pt x="432" y="1437"/>
                    <a:pt x="449" y="1403"/>
                    <a:pt x="454" y="1380"/>
                  </a:cubicBezTo>
                  <a:cubicBezTo>
                    <a:pt x="432" y="1380"/>
                    <a:pt x="415" y="1397"/>
                    <a:pt x="392" y="1391"/>
                  </a:cubicBezTo>
                  <a:cubicBezTo>
                    <a:pt x="375" y="1386"/>
                    <a:pt x="358" y="1369"/>
                    <a:pt x="341" y="1369"/>
                  </a:cubicBezTo>
                  <a:cubicBezTo>
                    <a:pt x="295" y="1375"/>
                    <a:pt x="290" y="1357"/>
                    <a:pt x="250" y="1352"/>
                  </a:cubicBezTo>
                  <a:cubicBezTo>
                    <a:pt x="204" y="1352"/>
                    <a:pt x="131" y="1318"/>
                    <a:pt x="102" y="1278"/>
                  </a:cubicBezTo>
                  <a:cubicBezTo>
                    <a:pt x="79" y="1249"/>
                    <a:pt x="74" y="1227"/>
                    <a:pt x="57" y="1198"/>
                  </a:cubicBezTo>
                  <a:cubicBezTo>
                    <a:pt x="45" y="1176"/>
                    <a:pt x="11" y="1170"/>
                    <a:pt x="0" y="114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8" name="Freeform 159"/>
            <p:cNvSpPr>
              <a:spLocks noChangeArrowheads="1"/>
            </p:cNvSpPr>
            <p:nvPr/>
          </p:nvSpPr>
          <p:spPr bwMode="auto">
            <a:xfrm>
              <a:off x="15028379" y="5831737"/>
              <a:ext cx="3818885" cy="3654410"/>
            </a:xfrm>
            <a:custGeom>
              <a:avLst/>
              <a:gdLst>
                <a:gd name="T0" fmla="*/ 2464 w 5522"/>
                <a:gd name="T1" fmla="*/ 182 h 5284"/>
                <a:gd name="T2" fmla="*/ 2635 w 5522"/>
                <a:gd name="T3" fmla="*/ 91 h 5284"/>
                <a:gd name="T4" fmla="*/ 3175 w 5522"/>
                <a:gd name="T5" fmla="*/ 137 h 5284"/>
                <a:gd name="T6" fmla="*/ 3430 w 5522"/>
                <a:gd name="T7" fmla="*/ 245 h 5284"/>
                <a:gd name="T8" fmla="*/ 3663 w 5522"/>
                <a:gd name="T9" fmla="*/ 466 h 5284"/>
                <a:gd name="T10" fmla="*/ 4027 w 5522"/>
                <a:gd name="T11" fmla="*/ 375 h 5284"/>
                <a:gd name="T12" fmla="*/ 4118 w 5522"/>
                <a:gd name="T13" fmla="*/ 302 h 5284"/>
                <a:gd name="T14" fmla="*/ 4339 w 5522"/>
                <a:gd name="T15" fmla="*/ 381 h 5284"/>
                <a:gd name="T16" fmla="*/ 4720 w 5522"/>
                <a:gd name="T17" fmla="*/ 835 h 5284"/>
                <a:gd name="T18" fmla="*/ 4652 w 5522"/>
                <a:gd name="T19" fmla="*/ 1245 h 5284"/>
                <a:gd name="T20" fmla="*/ 4453 w 5522"/>
                <a:gd name="T21" fmla="*/ 1534 h 5284"/>
                <a:gd name="T22" fmla="*/ 4640 w 5522"/>
                <a:gd name="T23" fmla="*/ 1767 h 5284"/>
                <a:gd name="T24" fmla="*/ 4862 w 5522"/>
                <a:gd name="T25" fmla="*/ 1938 h 5284"/>
                <a:gd name="T26" fmla="*/ 4947 w 5522"/>
                <a:gd name="T27" fmla="*/ 2136 h 5284"/>
                <a:gd name="T28" fmla="*/ 5231 w 5522"/>
                <a:gd name="T29" fmla="*/ 2210 h 5284"/>
                <a:gd name="T30" fmla="*/ 5072 w 5522"/>
                <a:gd name="T31" fmla="*/ 2591 h 5284"/>
                <a:gd name="T32" fmla="*/ 4896 w 5522"/>
                <a:gd name="T33" fmla="*/ 3152 h 5284"/>
                <a:gd name="T34" fmla="*/ 5123 w 5522"/>
                <a:gd name="T35" fmla="*/ 3539 h 5284"/>
                <a:gd name="T36" fmla="*/ 5288 w 5522"/>
                <a:gd name="T37" fmla="*/ 3857 h 5284"/>
                <a:gd name="T38" fmla="*/ 5481 w 5522"/>
                <a:gd name="T39" fmla="*/ 4090 h 5284"/>
                <a:gd name="T40" fmla="*/ 5368 w 5522"/>
                <a:gd name="T41" fmla="*/ 4289 h 5284"/>
                <a:gd name="T42" fmla="*/ 5055 w 5522"/>
                <a:gd name="T43" fmla="*/ 4215 h 5284"/>
                <a:gd name="T44" fmla="*/ 4811 w 5522"/>
                <a:gd name="T45" fmla="*/ 4567 h 5284"/>
                <a:gd name="T46" fmla="*/ 4396 w 5522"/>
                <a:gd name="T47" fmla="*/ 4789 h 5284"/>
                <a:gd name="T48" fmla="*/ 3879 w 5522"/>
                <a:gd name="T49" fmla="*/ 5118 h 5284"/>
                <a:gd name="T50" fmla="*/ 3720 w 5522"/>
                <a:gd name="T51" fmla="*/ 5283 h 5284"/>
                <a:gd name="T52" fmla="*/ 3629 w 5522"/>
                <a:gd name="T53" fmla="*/ 4965 h 5284"/>
                <a:gd name="T54" fmla="*/ 3493 w 5522"/>
                <a:gd name="T55" fmla="*/ 4607 h 5284"/>
                <a:gd name="T56" fmla="*/ 3021 w 5522"/>
                <a:gd name="T57" fmla="*/ 4584 h 5284"/>
                <a:gd name="T58" fmla="*/ 2618 w 5522"/>
                <a:gd name="T59" fmla="*/ 4601 h 5284"/>
                <a:gd name="T60" fmla="*/ 2300 w 5522"/>
                <a:gd name="T61" fmla="*/ 4652 h 5284"/>
                <a:gd name="T62" fmla="*/ 1931 w 5522"/>
                <a:gd name="T63" fmla="*/ 4732 h 5284"/>
                <a:gd name="T64" fmla="*/ 1329 w 5522"/>
                <a:gd name="T65" fmla="*/ 4772 h 5284"/>
                <a:gd name="T66" fmla="*/ 863 w 5522"/>
                <a:gd name="T67" fmla="*/ 4431 h 5284"/>
                <a:gd name="T68" fmla="*/ 488 w 5522"/>
                <a:gd name="T69" fmla="*/ 4181 h 5284"/>
                <a:gd name="T70" fmla="*/ 687 w 5522"/>
                <a:gd name="T71" fmla="*/ 3937 h 5284"/>
                <a:gd name="T72" fmla="*/ 693 w 5522"/>
                <a:gd name="T73" fmla="*/ 3692 h 5284"/>
                <a:gd name="T74" fmla="*/ 937 w 5522"/>
                <a:gd name="T75" fmla="*/ 3488 h 5284"/>
                <a:gd name="T76" fmla="*/ 903 w 5522"/>
                <a:gd name="T77" fmla="*/ 3084 h 5284"/>
                <a:gd name="T78" fmla="*/ 511 w 5522"/>
                <a:gd name="T79" fmla="*/ 3084 h 5284"/>
                <a:gd name="T80" fmla="*/ 312 w 5522"/>
                <a:gd name="T81" fmla="*/ 2705 h 5284"/>
                <a:gd name="T82" fmla="*/ 272 w 5522"/>
                <a:gd name="T83" fmla="*/ 2489 h 5284"/>
                <a:gd name="T84" fmla="*/ 119 w 5522"/>
                <a:gd name="T85" fmla="*/ 2489 h 5284"/>
                <a:gd name="T86" fmla="*/ 56 w 5522"/>
                <a:gd name="T87" fmla="*/ 2171 h 5284"/>
                <a:gd name="T88" fmla="*/ 238 w 5522"/>
                <a:gd name="T89" fmla="*/ 1994 h 5284"/>
                <a:gd name="T90" fmla="*/ 613 w 5522"/>
                <a:gd name="T91" fmla="*/ 1886 h 5284"/>
                <a:gd name="T92" fmla="*/ 869 w 5522"/>
                <a:gd name="T93" fmla="*/ 1727 h 5284"/>
                <a:gd name="T94" fmla="*/ 1062 w 5522"/>
                <a:gd name="T95" fmla="*/ 1841 h 5284"/>
                <a:gd name="T96" fmla="*/ 1335 w 5522"/>
                <a:gd name="T97" fmla="*/ 1824 h 5284"/>
                <a:gd name="T98" fmla="*/ 1812 w 5522"/>
                <a:gd name="T99" fmla="*/ 1847 h 5284"/>
                <a:gd name="T100" fmla="*/ 2146 w 5522"/>
                <a:gd name="T101" fmla="*/ 2114 h 5284"/>
                <a:gd name="T102" fmla="*/ 1914 w 5522"/>
                <a:gd name="T103" fmla="*/ 2330 h 5284"/>
                <a:gd name="T104" fmla="*/ 2470 w 5522"/>
                <a:gd name="T105" fmla="*/ 2097 h 5284"/>
                <a:gd name="T106" fmla="*/ 2590 w 5522"/>
                <a:gd name="T107" fmla="*/ 2085 h 5284"/>
                <a:gd name="T108" fmla="*/ 2743 w 5522"/>
                <a:gd name="T109" fmla="*/ 1784 h 5284"/>
                <a:gd name="T110" fmla="*/ 2794 w 5522"/>
                <a:gd name="T111" fmla="*/ 1517 h 5284"/>
                <a:gd name="T112" fmla="*/ 2567 w 5522"/>
                <a:gd name="T113" fmla="*/ 1227 h 5284"/>
                <a:gd name="T114" fmla="*/ 2408 w 5522"/>
                <a:gd name="T115" fmla="*/ 989 h 5284"/>
                <a:gd name="T116" fmla="*/ 2408 w 5522"/>
                <a:gd name="T117" fmla="*/ 682 h 5284"/>
                <a:gd name="T118" fmla="*/ 2356 w 5522"/>
                <a:gd name="T119" fmla="*/ 392 h 5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522" h="5284">
                  <a:moveTo>
                    <a:pt x="2294" y="290"/>
                  </a:moveTo>
                  <a:lnTo>
                    <a:pt x="2294" y="290"/>
                  </a:lnTo>
                  <a:cubicBezTo>
                    <a:pt x="2340" y="273"/>
                    <a:pt x="2340" y="273"/>
                    <a:pt x="2340" y="273"/>
                  </a:cubicBezTo>
                  <a:cubicBezTo>
                    <a:pt x="2385" y="267"/>
                    <a:pt x="2385" y="205"/>
                    <a:pt x="2419" y="205"/>
                  </a:cubicBezTo>
                  <a:cubicBezTo>
                    <a:pt x="2436" y="199"/>
                    <a:pt x="2464" y="211"/>
                    <a:pt x="2464" y="182"/>
                  </a:cubicBezTo>
                  <a:cubicBezTo>
                    <a:pt x="2464" y="142"/>
                    <a:pt x="2448" y="120"/>
                    <a:pt x="2499" y="131"/>
                  </a:cubicBezTo>
                  <a:cubicBezTo>
                    <a:pt x="2544" y="142"/>
                    <a:pt x="2567" y="131"/>
                    <a:pt x="2607" y="120"/>
                  </a:cubicBezTo>
                  <a:cubicBezTo>
                    <a:pt x="2607" y="114"/>
                    <a:pt x="2607" y="114"/>
                    <a:pt x="2607" y="114"/>
                  </a:cubicBezTo>
                  <a:cubicBezTo>
                    <a:pt x="2612" y="114"/>
                    <a:pt x="2601" y="97"/>
                    <a:pt x="2601" y="91"/>
                  </a:cubicBezTo>
                  <a:cubicBezTo>
                    <a:pt x="2601" y="86"/>
                    <a:pt x="2635" y="57"/>
                    <a:pt x="2635" y="91"/>
                  </a:cubicBezTo>
                  <a:cubicBezTo>
                    <a:pt x="2635" y="97"/>
                    <a:pt x="2641" y="137"/>
                    <a:pt x="2652" y="108"/>
                  </a:cubicBezTo>
                  <a:cubicBezTo>
                    <a:pt x="2680" y="12"/>
                    <a:pt x="2771" y="91"/>
                    <a:pt x="2828" y="97"/>
                  </a:cubicBezTo>
                  <a:cubicBezTo>
                    <a:pt x="2885" y="114"/>
                    <a:pt x="2981" y="91"/>
                    <a:pt x="3027" y="57"/>
                  </a:cubicBezTo>
                  <a:cubicBezTo>
                    <a:pt x="3055" y="34"/>
                    <a:pt x="3112" y="0"/>
                    <a:pt x="3112" y="57"/>
                  </a:cubicBezTo>
                  <a:cubicBezTo>
                    <a:pt x="3112" y="97"/>
                    <a:pt x="3146" y="114"/>
                    <a:pt x="3175" y="137"/>
                  </a:cubicBezTo>
                  <a:cubicBezTo>
                    <a:pt x="3226" y="171"/>
                    <a:pt x="3243" y="86"/>
                    <a:pt x="3300" y="108"/>
                  </a:cubicBezTo>
                  <a:cubicBezTo>
                    <a:pt x="3305" y="114"/>
                    <a:pt x="3322" y="148"/>
                    <a:pt x="3334" y="159"/>
                  </a:cubicBezTo>
                  <a:cubicBezTo>
                    <a:pt x="3357" y="171"/>
                    <a:pt x="3373" y="159"/>
                    <a:pt x="3396" y="176"/>
                  </a:cubicBezTo>
                  <a:cubicBezTo>
                    <a:pt x="3408" y="182"/>
                    <a:pt x="3499" y="194"/>
                    <a:pt x="3453" y="222"/>
                  </a:cubicBezTo>
                  <a:cubicBezTo>
                    <a:pt x="3447" y="222"/>
                    <a:pt x="3430" y="233"/>
                    <a:pt x="3430" y="245"/>
                  </a:cubicBezTo>
                  <a:cubicBezTo>
                    <a:pt x="3425" y="273"/>
                    <a:pt x="3476" y="222"/>
                    <a:pt x="3464" y="279"/>
                  </a:cubicBezTo>
                  <a:cubicBezTo>
                    <a:pt x="3436" y="381"/>
                    <a:pt x="3544" y="239"/>
                    <a:pt x="3544" y="324"/>
                  </a:cubicBezTo>
                  <a:cubicBezTo>
                    <a:pt x="3544" y="353"/>
                    <a:pt x="3561" y="341"/>
                    <a:pt x="3578" y="358"/>
                  </a:cubicBezTo>
                  <a:cubicBezTo>
                    <a:pt x="3584" y="364"/>
                    <a:pt x="3584" y="387"/>
                    <a:pt x="3589" y="398"/>
                  </a:cubicBezTo>
                  <a:cubicBezTo>
                    <a:pt x="3595" y="421"/>
                    <a:pt x="3641" y="460"/>
                    <a:pt x="3663" y="466"/>
                  </a:cubicBezTo>
                  <a:cubicBezTo>
                    <a:pt x="3692" y="472"/>
                    <a:pt x="3703" y="415"/>
                    <a:pt x="3737" y="432"/>
                  </a:cubicBezTo>
                  <a:cubicBezTo>
                    <a:pt x="3771" y="449"/>
                    <a:pt x="3822" y="472"/>
                    <a:pt x="3862" y="444"/>
                  </a:cubicBezTo>
                  <a:cubicBezTo>
                    <a:pt x="3873" y="432"/>
                    <a:pt x="3891" y="404"/>
                    <a:pt x="3902" y="404"/>
                  </a:cubicBezTo>
                  <a:cubicBezTo>
                    <a:pt x="3925" y="404"/>
                    <a:pt x="3942" y="426"/>
                    <a:pt x="3964" y="409"/>
                  </a:cubicBezTo>
                  <a:cubicBezTo>
                    <a:pt x="3993" y="404"/>
                    <a:pt x="3993" y="353"/>
                    <a:pt x="4027" y="375"/>
                  </a:cubicBezTo>
                  <a:cubicBezTo>
                    <a:pt x="4044" y="387"/>
                    <a:pt x="4055" y="404"/>
                    <a:pt x="4067" y="421"/>
                  </a:cubicBezTo>
                  <a:cubicBezTo>
                    <a:pt x="4072" y="421"/>
                    <a:pt x="4095" y="444"/>
                    <a:pt x="4101" y="444"/>
                  </a:cubicBezTo>
                  <a:cubicBezTo>
                    <a:pt x="4112" y="444"/>
                    <a:pt x="4107" y="415"/>
                    <a:pt x="4107" y="409"/>
                  </a:cubicBezTo>
                  <a:cubicBezTo>
                    <a:pt x="4095" y="392"/>
                    <a:pt x="4107" y="375"/>
                    <a:pt x="4112" y="364"/>
                  </a:cubicBezTo>
                  <a:cubicBezTo>
                    <a:pt x="4118" y="341"/>
                    <a:pt x="4112" y="324"/>
                    <a:pt x="4118" y="302"/>
                  </a:cubicBezTo>
                  <a:lnTo>
                    <a:pt x="4118" y="302"/>
                  </a:lnTo>
                  <a:cubicBezTo>
                    <a:pt x="4163" y="313"/>
                    <a:pt x="4197" y="279"/>
                    <a:pt x="4237" y="279"/>
                  </a:cubicBezTo>
                  <a:cubicBezTo>
                    <a:pt x="4237" y="284"/>
                    <a:pt x="4254" y="302"/>
                    <a:pt x="4254" y="307"/>
                  </a:cubicBezTo>
                  <a:cubicBezTo>
                    <a:pt x="4266" y="370"/>
                    <a:pt x="4294" y="313"/>
                    <a:pt x="4317" y="336"/>
                  </a:cubicBezTo>
                  <a:cubicBezTo>
                    <a:pt x="4328" y="347"/>
                    <a:pt x="4328" y="370"/>
                    <a:pt x="4339" y="381"/>
                  </a:cubicBezTo>
                  <a:cubicBezTo>
                    <a:pt x="4379" y="409"/>
                    <a:pt x="4419" y="381"/>
                    <a:pt x="4447" y="438"/>
                  </a:cubicBezTo>
                  <a:cubicBezTo>
                    <a:pt x="4459" y="466"/>
                    <a:pt x="4499" y="512"/>
                    <a:pt x="4527" y="529"/>
                  </a:cubicBezTo>
                  <a:cubicBezTo>
                    <a:pt x="4533" y="552"/>
                    <a:pt x="4606" y="614"/>
                    <a:pt x="4623" y="625"/>
                  </a:cubicBezTo>
                  <a:cubicBezTo>
                    <a:pt x="4663" y="654"/>
                    <a:pt x="4646" y="665"/>
                    <a:pt x="4640" y="705"/>
                  </a:cubicBezTo>
                  <a:cubicBezTo>
                    <a:pt x="4623" y="756"/>
                    <a:pt x="4686" y="807"/>
                    <a:pt x="4720" y="835"/>
                  </a:cubicBezTo>
                  <a:cubicBezTo>
                    <a:pt x="4754" y="858"/>
                    <a:pt x="4726" y="926"/>
                    <a:pt x="4720" y="966"/>
                  </a:cubicBezTo>
                  <a:cubicBezTo>
                    <a:pt x="4720" y="995"/>
                    <a:pt x="4766" y="1108"/>
                    <a:pt x="4731" y="1125"/>
                  </a:cubicBezTo>
                  <a:cubicBezTo>
                    <a:pt x="4731" y="1131"/>
                    <a:pt x="4731" y="1131"/>
                    <a:pt x="4731" y="1131"/>
                  </a:cubicBezTo>
                  <a:cubicBezTo>
                    <a:pt x="4709" y="1131"/>
                    <a:pt x="4737" y="1205"/>
                    <a:pt x="4709" y="1227"/>
                  </a:cubicBezTo>
                  <a:cubicBezTo>
                    <a:pt x="4686" y="1250"/>
                    <a:pt x="4686" y="1256"/>
                    <a:pt x="4652" y="1245"/>
                  </a:cubicBezTo>
                  <a:cubicBezTo>
                    <a:pt x="4640" y="1245"/>
                    <a:pt x="4584" y="1222"/>
                    <a:pt x="4584" y="1216"/>
                  </a:cubicBezTo>
                  <a:cubicBezTo>
                    <a:pt x="4555" y="1216"/>
                    <a:pt x="4544" y="1392"/>
                    <a:pt x="4533" y="1421"/>
                  </a:cubicBezTo>
                  <a:cubicBezTo>
                    <a:pt x="4521" y="1449"/>
                    <a:pt x="4499" y="1421"/>
                    <a:pt x="4487" y="1432"/>
                  </a:cubicBezTo>
                  <a:cubicBezTo>
                    <a:pt x="4470" y="1443"/>
                    <a:pt x="4464" y="1477"/>
                    <a:pt x="4447" y="1483"/>
                  </a:cubicBezTo>
                  <a:cubicBezTo>
                    <a:pt x="4413" y="1500"/>
                    <a:pt x="4402" y="1529"/>
                    <a:pt x="4453" y="1534"/>
                  </a:cubicBezTo>
                  <a:cubicBezTo>
                    <a:pt x="4521" y="1619"/>
                    <a:pt x="4521" y="1619"/>
                    <a:pt x="4521" y="1619"/>
                  </a:cubicBezTo>
                  <a:cubicBezTo>
                    <a:pt x="4533" y="1625"/>
                    <a:pt x="4538" y="1636"/>
                    <a:pt x="4538" y="1648"/>
                  </a:cubicBezTo>
                  <a:cubicBezTo>
                    <a:pt x="4516" y="1648"/>
                    <a:pt x="4504" y="1716"/>
                    <a:pt x="4521" y="1716"/>
                  </a:cubicBezTo>
                  <a:cubicBezTo>
                    <a:pt x="4521" y="1727"/>
                    <a:pt x="4544" y="1676"/>
                    <a:pt x="4555" y="1671"/>
                  </a:cubicBezTo>
                  <a:cubicBezTo>
                    <a:pt x="4584" y="1665"/>
                    <a:pt x="4618" y="1756"/>
                    <a:pt x="4640" y="1767"/>
                  </a:cubicBezTo>
                  <a:cubicBezTo>
                    <a:pt x="4675" y="1779"/>
                    <a:pt x="4686" y="1801"/>
                    <a:pt x="4709" y="1830"/>
                  </a:cubicBezTo>
                  <a:cubicBezTo>
                    <a:pt x="4726" y="1852"/>
                    <a:pt x="4737" y="1858"/>
                    <a:pt x="4766" y="1847"/>
                  </a:cubicBezTo>
                  <a:cubicBezTo>
                    <a:pt x="4782" y="1841"/>
                    <a:pt x="4788" y="1847"/>
                    <a:pt x="4800" y="1858"/>
                  </a:cubicBezTo>
                  <a:cubicBezTo>
                    <a:pt x="4822" y="1870"/>
                    <a:pt x="4851" y="1841"/>
                    <a:pt x="4868" y="1847"/>
                  </a:cubicBezTo>
                  <a:cubicBezTo>
                    <a:pt x="4873" y="1852"/>
                    <a:pt x="4862" y="1926"/>
                    <a:pt x="4862" y="1938"/>
                  </a:cubicBezTo>
                  <a:lnTo>
                    <a:pt x="4862" y="1938"/>
                  </a:lnTo>
                  <a:cubicBezTo>
                    <a:pt x="4851" y="1955"/>
                    <a:pt x="4851" y="1966"/>
                    <a:pt x="4873" y="1983"/>
                  </a:cubicBezTo>
                  <a:cubicBezTo>
                    <a:pt x="4885" y="1989"/>
                    <a:pt x="4885" y="1994"/>
                    <a:pt x="4885" y="2006"/>
                  </a:cubicBezTo>
                  <a:cubicBezTo>
                    <a:pt x="4885" y="2029"/>
                    <a:pt x="4925" y="2057"/>
                    <a:pt x="4930" y="2080"/>
                  </a:cubicBezTo>
                  <a:cubicBezTo>
                    <a:pt x="4936" y="2097"/>
                    <a:pt x="4930" y="2125"/>
                    <a:pt x="4947" y="2136"/>
                  </a:cubicBezTo>
                  <a:cubicBezTo>
                    <a:pt x="4970" y="2154"/>
                    <a:pt x="5016" y="2148"/>
                    <a:pt x="5050" y="2159"/>
                  </a:cubicBezTo>
                  <a:cubicBezTo>
                    <a:pt x="5084" y="2176"/>
                    <a:pt x="5112" y="2176"/>
                    <a:pt x="5152" y="2165"/>
                  </a:cubicBezTo>
                  <a:cubicBezTo>
                    <a:pt x="5209" y="2154"/>
                    <a:pt x="5209" y="2154"/>
                    <a:pt x="5209" y="2154"/>
                  </a:cubicBezTo>
                  <a:lnTo>
                    <a:pt x="5209" y="2154"/>
                  </a:lnTo>
                  <a:cubicBezTo>
                    <a:pt x="5231" y="2210"/>
                    <a:pt x="5231" y="2210"/>
                    <a:pt x="5231" y="2210"/>
                  </a:cubicBezTo>
                  <a:lnTo>
                    <a:pt x="5231" y="2210"/>
                  </a:lnTo>
                  <a:cubicBezTo>
                    <a:pt x="5214" y="2239"/>
                    <a:pt x="5152" y="2233"/>
                    <a:pt x="5146" y="2267"/>
                  </a:cubicBezTo>
                  <a:cubicBezTo>
                    <a:pt x="5146" y="2279"/>
                    <a:pt x="5152" y="2290"/>
                    <a:pt x="5158" y="2301"/>
                  </a:cubicBezTo>
                  <a:cubicBezTo>
                    <a:pt x="5180" y="2352"/>
                    <a:pt x="5146" y="2404"/>
                    <a:pt x="5146" y="2449"/>
                  </a:cubicBezTo>
                  <a:cubicBezTo>
                    <a:pt x="5146" y="2500"/>
                    <a:pt x="5072" y="2540"/>
                    <a:pt x="5072" y="2591"/>
                  </a:cubicBezTo>
                  <a:cubicBezTo>
                    <a:pt x="5095" y="2659"/>
                    <a:pt x="5061" y="2716"/>
                    <a:pt x="4987" y="2676"/>
                  </a:cubicBezTo>
                  <a:cubicBezTo>
                    <a:pt x="4902" y="2625"/>
                    <a:pt x="4879" y="2830"/>
                    <a:pt x="4817" y="2858"/>
                  </a:cubicBezTo>
                  <a:cubicBezTo>
                    <a:pt x="4777" y="2875"/>
                    <a:pt x="4794" y="2942"/>
                    <a:pt x="4782" y="2976"/>
                  </a:cubicBezTo>
                  <a:cubicBezTo>
                    <a:pt x="4754" y="3062"/>
                    <a:pt x="4771" y="3056"/>
                    <a:pt x="4839" y="3113"/>
                  </a:cubicBezTo>
                  <a:cubicBezTo>
                    <a:pt x="4856" y="3158"/>
                    <a:pt x="4851" y="3152"/>
                    <a:pt x="4896" y="3152"/>
                  </a:cubicBezTo>
                  <a:cubicBezTo>
                    <a:pt x="4908" y="3158"/>
                    <a:pt x="4936" y="3192"/>
                    <a:pt x="4953" y="3204"/>
                  </a:cubicBezTo>
                  <a:cubicBezTo>
                    <a:pt x="4987" y="3215"/>
                    <a:pt x="5021" y="3215"/>
                    <a:pt x="5050" y="3221"/>
                  </a:cubicBezTo>
                  <a:cubicBezTo>
                    <a:pt x="5101" y="3238"/>
                    <a:pt x="5135" y="3249"/>
                    <a:pt x="5186" y="3255"/>
                  </a:cubicBezTo>
                  <a:cubicBezTo>
                    <a:pt x="5226" y="3255"/>
                    <a:pt x="5175" y="3419"/>
                    <a:pt x="5175" y="3448"/>
                  </a:cubicBezTo>
                  <a:cubicBezTo>
                    <a:pt x="5175" y="3488"/>
                    <a:pt x="5129" y="3505"/>
                    <a:pt x="5123" y="3539"/>
                  </a:cubicBezTo>
                  <a:cubicBezTo>
                    <a:pt x="5118" y="3550"/>
                    <a:pt x="5112" y="3573"/>
                    <a:pt x="5101" y="3579"/>
                  </a:cubicBezTo>
                  <a:cubicBezTo>
                    <a:pt x="5089" y="3596"/>
                    <a:pt x="5089" y="3618"/>
                    <a:pt x="5084" y="3635"/>
                  </a:cubicBezTo>
                  <a:cubicBezTo>
                    <a:pt x="5095" y="3669"/>
                    <a:pt x="5078" y="3687"/>
                    <a:pt x="5118" y="3703"/>
                  </a:cubicBezTo>
                  <a:cubicBezTo>
                    <a:pt x="5158" y="3721"/>
                    <a:pt x="5175" y="3777"/>
                    <a:pt x="5203" y="3811"/>
                  </a:cubicBezTo>
                  <a:cubicBezTo>
                    <a:pt x="5237" y="3863"/>
                    <a:pt x="5226" y="3851"/>
                    <a:pt x="5288" y="3857"/>
                  </a:cubicBezTo>
                  <a:cubicBezTo>
                    <a:pt x="5311" y="3863"/>
                    <a:pt x="5362" y="3857"/>
                    <a:pt x="5379" y="3846"/>
                  </a:cubicBezTo>
                  <a:cubicBezTo>
                    <a:pt x="5396" y="3834"/>
                    <a:pt x="5453" y="3817"/>
                    <a:pt x="5453" y="3851"/>
                  </a:cubicBezTo>
                  <a:cubicBezTo>
                    <a:pt x="5459" y="3891"/>
                    <a:pt x="5493" y="3908"/>
                    <a:pt x="5493" y="3959"/>
                  </a:cubicBezTo>
                  <a:cubicBezTo>
                    <a:pt x="5493" y="3976"/>
                    <a:pt x="5493" y="3999"/>
                    <a:pt x="5493" y="4016"/>
                  </a:cubicBezTo>
                  <a:cubicBezTo>
                    <a:pt x="5498" y="4044"/>
                    <a:pt x="5521" y="4079"/>
                    <a:pt x="5481" y="4090"/>
                  </a:cubicBezTo>
                  <a:cubicBezTo>
                    <a:pt x="5447" y="4096"/>
                    <a:pt x="5459" y="4113"/>
                    <a:pt x="5470" y="4135"/>
                  </a:cubicBezTo>
                  <a:cubicBezTo>
                    <a:pt x="5493" y="4164"/>
                    <a:pt x="5521" y="4306"/>
                    <a:pt x="5442" y="4289"/>
                  </a:cubicBezTo>
                  <a:cubicBezTo>
                    <a:pt x="5396" y="4294"/>
                    <a:pt x="5396" y="4294"/>
                    <a:pt x="5396" y="4294"/>
                  </a:cubicBezTo>
                  <a:lnTo>
                    <a:pt x="5396" y="4294"/>
                  </a:lnTo>
                  <a:cubicBezTo>
                    <a:pt x="5368" y="4289"/>
                    <a:pt x="5368" y="4289"/>
                    <a:pt x="5368" y="4289"/>
                  </a:cubicBezTo>
                  <a:cubicBezTo>
                    <a:pt x="5362" y="4277"/>
                    <a:pt x="5339" y="4277"/>
                    <a:pt x="5328" y="4266"/>
                  </a:cubicBezTo>
                  <a:cubicBezTo>
                    <a:pt x="5317" y="4255"/>
                    <a:pt x="5305" y="4249"/>
                    <a:pt x="5294" y="4238"/>
                  </a:cubicBezTo>
                  <a:cubicBezTo>
                    <a:pt x="5266" y="4215"/>
                    <a:pt x="5266" y="4203"/>
                    <a:pt x="5254" y="4169"/>
                  </a:cubicBezTo>
                  <a:cubicBezTo>
                    <a:pt x="5243" y="4130"/>
                    <a:pt x="5118" y="4147"/>
                    <a:pt x="5095" y="4175"/>
                  </a:cubicBezTo>
                  <a:cubicBezTo>
                    <a:pt x="5078" y="4192"/>
                    <a:pt x="5072" y="4203"/>
                    <a:pt x="5055" y="4215"/>
                  </a:cubicBezTo>
                  <a:cubicBezTo>
                    <a:pt x="5038" y="4226"/>
                    <a:pt x="4998" y="4266"/>
                    <a:pt x="4976" y="4249"/>
                  </a:cubicBezTo>
                  <a:cubicBezTo>
                    <a:pt x="4959" y="4232"/>
                    <a:pt x="4959" y="4220"/>
                    <a:pt x="4930" y="4238"/>
                  </a:cubicBezTo>
                  <a:cubicBezTo>
                    <a:pt x="4885" y="4255"/>
                    <a:pt x="4856" y="4323"/>
                    <a:pt x="4856" y="4368"/>
                  </a:cubicBezTo>
                  <a:cubicBezTo>
                    <a:pt x="4856" y="4431"/>
                    <a:pt x="4839" y="4402"/>
                    <a:pt x="4805" y="4436"/>
                  </a:cubicBezTo>
                  <a:cubicBezTo>
                    <a:pt x="4782" y="4465"/>
                    <a:pt x="4800" y="4539"/>
                    <a:pt x="4811" y="4567"/>
                  </a:cubicBezTo>
                  <a:cubicBezTo>
                    <a:pt x="4817" y="4596"/>
                    <a:pt x="4811" y="4624"/>
                    <a:pt x="4817" y="4652"/>
                  </a:cubicBezTo>
                  <a:cubicBezTo>
                    <a:pt x="4794" y="4726"/>
                    <a:pt x="4822" y="4732"/>
                    <a:pt x="4754" y="4789"/>
                  </a:cubicBezTo>
                  <a:cubicBezTo>
                    <a:pt x="4714" y="4817"/>
                    <a:pt x="4629" y="4868"/>
                    <a:pt x="4584" y="4817"/>
                  </a:cubicBezTo>
                  <a:cubicBezTo>
                    <a:pt x="4555" y="4783"/>
                    <a:pt x="4572" y="4772"/>
                    <a:pt x="4555" y="4743"/>
                  </a:cubicBezTo>
                  <a:cubicBezTo>
                    <a:pt x="4476" y="4732"/>
                    <a:pt x="4476" y="4749"/>
                    <a:pt x="4396" y="4789"/>
                  </a:cubicBezTo>
                  <a:cubicBezTo>
                    <a:pt x="4373" y="4806"/>
                    <a:pt x="4180" y="4925"/>
                    <a:pt x="4163" y="4868"/>
                  </a:cubicBezTo>
                  <a:cubicBezTo>
                    <a:pt x="4135" y="4857"/>
                    <a:pt x="4141" y="4840"/>
                    <a:pt x="4107" y="4868"/>
                  </a:cubicBezTo>
                  <a:cubicBezTo>
                    <a:pt x="4072" y="4919"/>
                    <a:pt x="4072" y="4948"/>
                    <a:pt x="4010" y="4959"/>
                  </a:cubicBezTo>
                  <a:cubicBezTo>
                    <a:pt x="3970" y="4965"/>
                    <a:pt x="3913" y="4993"/>
                    <a:pt x="3908" y="5039"/>
                  </a:cubicBezTo>
                  <a:cubicBezTo>
                    <a:pt x="3902" y="5073"/>
                    <a:pt x="3896" y="5090"/>
                    <a:pt x="3879" y="5118"/>
                  </a:cubicBezTo>
                  <a:cubicBezTo>
                    <a:pt x="3857" y="5152"/>
                    <a:pt x="3839" y="5158"/>
                    <a:pt x="3811" y="5186"/>
                  </a:cubicBezTo>
                  <a:cubicBezTo>
                    <a:pt x="3800" y="5203"/>
                    <a:pt x="3783" y="5226"/>
                    <a:pt x="3766" y="5237"/>
                  </a:cubicBezTo>
                  <a:cubicBezTo>
                    <a:pt x="3760" y="5277"/>
                    <a:pt x="3760" y="5277"/>
                    <a:pt x="3760" y="5277"/>
                  </a:cubicBezTo>
                  <a:lnTo>
                    <a:pt x="3760" y="5277"/>
                  </a:lnTo>
                  <a:cubicBezTo>
                    <a:pt x="3720" y="5283"/>
                    <a:pt x="3720" y="5283"/>
                    <a:pt x="3720" y="5283"/>
                  </a:cubicBezTo>
                  <a:cubicBezTo>
                    <a:pt x="3680" y="5283"/>
                    <a:pt x="3646" y="5266"/>
                    <a:pt x="3607" y="5249"/>
                  </a:cubicBezTo>
                  <a:cubicBezTo>
                    <a:pt x="3595" y="5237"/>
                    <a:pt x="3504" y="5192"/>
                    <a:pt x="3504" y="5181"/>
                  </a:cubicBezTo>
                  <a:cubicBezTo>
                    <a:pt x="3504" y="5169"/>
                    <a:pt x="3538" y="5141"/>
                    <a:pt x="3544" y="5135"/>
                  </a:cubicBezTo>
                  <a:cubicBezTo>
                    <a:pt x="3561" y="5118"/>
                    <a:pt x="3584" y="5090"/>
                    <a:pt x="3601" y="5067"/>
                  </a:cubicBezTo>
                  <a:cubicBezTo>
                    <a:pt x="3635" y="5022"/>
                    <a:pt x="3629" y="5016"/>
                    <a:pt x="3629" y="4965"/>
                  </a:cubicBezTo>
                  <a:cubicBezTo>
                    <a:pt x="3629" y="4942"/>
                    <a:pt x="3635" y="4925"/>
                    <a:pt x="3635" y="4908"/>
                  </a:cubicBezTo>
                  <a:cubicBezTo>
                    <a:pt x="3635" y="4868"/>
                    <a:pt x="3646" y="4874"/>
                    <a:pt x="3612" y="4862"/>
                  </a:cubicBezTo>
                  <a:cubicBezTo>
                    <a:pt x="3595" y="4857"/>
                    <a:pt x="3589" y="4851"/>
                    <a:pt x="3578" y="4840"/>
                  </a:cubicBezTo>
                  <a:cubicBezTo>
                    <a:pt x="3572" y="4800"/>
                    <a:pt x="3595" y="4709"/>
                    <a:pt x="3555" y="4692"/>
                  </a:cubicBezTo>
                  <a:cubicBezTo>
                    <a:pt x="3481" y="4664"/>
                    <a:pt x="3470" y="4698"/>
                    <a:pt x="3493" y="4607"/>
                  </a:cubicBezTo>
                  <a:cubicBezTo>
                    <a:pt x="3499" y="4590"/>
                    <a:pt x="3476" y="4544"/>
                    <a:pt x="3464" y="4533"/>
                  </a:cubicBezTo>
                  <a:cubicBezTo>
                    <a:pt x="3425" y="4499"/>
                    <a:pt x="3385" y="4544"/>
                    <a:pt x="3345" y="4544"/>
                  </a:cubicBezTo>
                  <a:cubicBezTo>
                    <a:pt x="3305" y="4544"/>
                    <a:pt x="3266" y="4470"/>
                    <a:pt x="3226" y="4499"/>
                  </a:cubicBezTo>
                  <a:cubicBezTo>
                    <a:pt x="3186" y="4533"/>
                    <a:pt x="3135" y="4624"/>
                    <a:pt x="3072" y="4601"/>
                  </a:cubicBezTo>
                  <a:cubicBezTo>
                    <a:pt x="3050" y="4596"/>
                    <a:pt x="3061" y="4573"/>
                    <a:pt x="3021" y="4584"/>
                  </a:cubicBezTo>
                  <a:cubicBezTo>
                    <a:pt x="3004" y="4596"/>
                    <a:pt x="2987" y="4607"/>
                    <a:pt x="2976" y="4624"/>
                  </a:cubicBezTo>
                  <a:cubicBezTo>
                    <a:pt x="2970" y="4635"/>
                    <a:pt x="2964" y="4664"/>
                    <a:pt x="2959" y="4669"/>
                  </a:cubicBezTo>
                  <a:cubicBezTo>
                    <a:pt x="2947" y="4675"/>
                    <a:pt x="2913" y="4618"/>
                    <a:pt x="2908" y="4612"/>
                  </a:cubicBezTo>
                  <a:cubicBezTo>
                    <a:pt x="2874" y="4533"/>
                    <a:pt x="2822" y="4641"/>
                    <a:pt x="2749" y="4624"/>
                  </a:cubicBezTo>
                  <a:cubicBezTo>
                    <a:pt x="2709" y="4618"/>
                    <a:pt x="2652" y="4618"/>
                    <a:pt x="2618" y="4601"/>
                  </a:cubicBezTo>
                  <a:cubicBezTo>
                    <a:pt x="2601" y="4596"/>
                    <a:pt x="2578" y="4567"/>
                    <a:pt x="2567" y="4567"/>
                  </a:cubicBezTo>
                  <a:cubicBezTo>
                    <a:pt x="2561" y="4567"/>
                    <a:pt x="2499" y="4584"/>
                    <a:pt x="2493" y="4590"/>
                  </a:cubicBezTo>
                  <a:cubicBezTo>
                    <a:pt x="2476" y="4612"/>
                    <a:pt x="2499" y="4630"/>
                    <a:pt x="2459" y="4658"/>
                  </a:cubicBezTo>
                  <a:cubicBezTo>
                    <a:pt x="2419" y="4681"/>
                    <a:pt x="2413" y="4709"/>
                    <a:pt x="2368" y="4692"/>
                  </a:cubicBezTo>
                  <a:cubicBezTo>
                    <a:pt x="2340" y="4692"/>
                    <a:pt x="2300" y="4686"/>
                    <a:pt x="2300" y="4652"/>
                  </a:cubicBezTo>
                  <a:cubicBezTo>
                    <a:pt x="2300" y="4630"/>
                    <a:pt x="2288" y="4618"/>
                    <a:pt x="2260" y="4618"/>
                  </a:cubicBezTo>
                  <a:cubicBezTo>
                    <a:pt x="2209" y="4618"/>
                    <a:pt x="2266" y="4726"/>
                    <a:pt x="2180" y="4692"/>
                  </a:cubicBezTo>
                  <a:cubicBezTo>
                    <a:pt x="2146" y="4681"/>
                    <a:pt x="2119" y="4664"/>
                    <a:pt x="2079" y="4658"/>
                  </a:cubicBezTo>
                  <a:cubicBezTo>
                    <a:pt x="2062" y="4658"/>
                    <a:pt x="2045" y="4675"/>
                    <a:pt x="2028" y="4664"/>
                  </a:cubicBezTo>
                  <a:cubicBezTo>
                    <a:pt x="1971" y="4630"/>
                    <a:pt x="1965" y="4715"/>
                    <a:pt x="1931" y="4732"/>
                  </a:cubicBezTo>
                  <a:cubicBezTo>
                    <a:pt x="1897" y="4743"/>
                    <a:pt x="1789" y="4749"/>
                    <a:pt x="1755" y="4743"/>
                  </a:cubicBezTo>
                  <a:cubicBezTo>
                    <a:pt x="1727" y="4743"/>
                    <a:pt x="1693" y="4732"/>
                    <a:pt x="1659" y="4726"/>
                  </a:cubicBezTo>
                  <a:cubicBezTo>
                    <a:pt x="1625" y="4715"/>
                    <a:pt x="1585" y="4726"/>
                    <a:pt x="1551" y="4726"/>
                  </a:cubicBezTo>
                  <a:cubicBezTo>
                    <a:pt x="1511" y="4726"/>
                    <a:pt x="1443" y="4681"/>
                    <a:pt x="1409" y="4703"/>
                  </a:cubicBezTo>
                  <a:cubicBezTo>
                    <a:pt x="1386" y="4720"/>
                    <a:pt x="1346" y="4772"/>
                    <a:pt x="1329" y="4772"/>
                  </a:cubicBezTo>
                  <a:cubicBezTo>
                    <a:pt x="1312" y="4772"/>
                    <a:pt x="1255" y="4715"/>
                    <a:pt x="1238" y="4703"/>
                  </a:cubicBezTo>
                  <a:cubicBezTo>
                    <a:pt x="1187" y="4681"/>
                    <a:pt x="1147" y="4664"/>
                    <a:pt x="1113" y="4618"/>
                  </a:cubicBezTo>
                  <a:cubicBezTo>
                    <a:pt x="1091" y="4596"/>
                    <a:pt x="1056" y="4567"/>
                    <a:pt x="1028" y="4561"/>
                  </a:cubicBezTo>
                  <a:cubicBezTo>
                    <a:pt x="966" y="4539"/>
                    <a:pt x="988" y="4510"/>
                    <a:pt x="943" y="4482"/>
                  </a:cubicBezTo>
                  <a:cubicBezTo>
                    <a:pt x="909" y="4465"/>
                    <a:pt x="892" y="4453"/>
                    <a:pt x="863" y="4431"/>
                  </a:cubicBezTo>
                  <a:cubicBezTo>
                    <a:pt x="846" y="4408"/>
                    <a:pt x="772" y="4397"/>
                    <a:pt x="744" y="4391"/>
                  </a:cubicBezTo>
                  <a:cubicBezTo>
                    <a:pt x="670" y="4374"/>
                    <a:pt x="670" y="4340"/>
                    <a:pt x="664" y="4277"/>
                  </a:cubicBezTo>
                  <a:cubicBezTo>
                    <a:pt x="653" y="4209"/>
                    <a:pt x="534" y="4300"/>
                    <a:pt x="505" y="4220"/>
                  </a:cubicBezTo>
                  <a:cubicBezTo>
                    <a:pt x="488" y="4181"/>
                    <a:pt x="488" y="4181"/>
                    <a:pt x="488" y="4181"/>
                  </a:cubicBezTo>
                  <a:lnTo>
                    <a:pt x="488" y="4181"/>
                  </a:lnTo>
                  <a:cubicBezTo>
                    <a:pt x="517" y="4164"/>
                    <a:pt x="517" y="4164"/>
                    <a:pt x="517" y="4164"/>
                  </a:cubicBezTo>
                  <a:cubicBezTo>
                    <a:pt x="556" y="4141"/>
                    <a:pt x="556" y="4107"/>
                    <a:pt x="556" y="4061"/>
                  </a:cubicBezTo>
                  <a:cubicBezTo>
                    <a:pt x="556" y="4022"/>
                    <a:pt x="574" y="3982"/>
                    <a:pt x="591" y="3948"/>
                  </a:cubicBezTo>
                  <a:cubicBezTo>
                    <a:pt x="602" y="3931"/>
                    <a:pt x="636" y="3925"/>
                    <a:pt x="653" y="3931"/>
                  </a:cubicBezTo>
                  <a:cubicBezTo>
                    <a:pt x="664" y="3937"/>
                    <a:pt x="676" y="3948"/>
                    <a:pt x="687" y="3937"/>
                  </a:cubicBezTo>
                  <a:cubicBezTo>
                    <a:pt x="710" y="3897"/>
                    <a:pt x="744" y="3851"/>
                    <a:pt x="670" y="3834"/>
                  </a:cubicBezTo>
                  <a:cubicBezTo>
                    <a:pt x="591" y="3817"/>
                    <a:pt x="608" y="3766"/>
                    <a:pt x="579" y="3709"/>
                  </a:cubicBezTo>
                  <a:cubicBezTo>
                    <a:pt x="574" y="3692"/>
                    <a:pt x="556" y="3675"/>
                    <a:pt x="556" y="3664"/>
                  </a:cubicBezTo>
                  <a:cubicBezTo>
                    <a:pt x="579" y="3664"/>
                    <a:pt x="596" y="3675"/>
                    <a:pt x="613" y="3675"/>
                  </a:cubicBezTo>
                  <a:cubicBezTo>
                    <a:pt x="619" y="3692"/>
                    <a:pt x="676" y="3703"/>
                    <a:pt x="693" y="3692"/>
                  </a:cubicBezTo>
                  <a:cubicBezTo>
                    <a:pt x="716" y="3681"/>
                    <a:pt x="716" y="3647"/>
                    <a:pt x="699" y="3635"/>
                  </a:cubicBezTo>
                  <a:cubicBezTo>
                    <a:pt x="636" y="3596"/>
                    <a:pt x="682" y="3561"/>
                    <a:pt x="687" y="3505"/>
                  </a:cubicBezTo>
                  <a:cubicBezTo>
                    <a:pt x="716" y="3493"/>
                    <a:pt x="710" y="3482"/>
                    <a:pt x="721" y="3453"/>
                  </a:cubicBezTo>
                  <a:cubicBezTo>
                    <a:pt x="733" y="3437"/>
                    <a:pt x="778" y="3459"/>
                    <a:pt x="795" y="3459"/>
                  </a:cubicBezTo>
                  <a:cubicBezTo>
                    <a:pt x="824" y="3459"/>
                    <a:pt x="932" y="3488"/>
                    <a:pt x="937" y="3488"/>
                  </a:cubicBezTo>
                  <a:cubicBezTo>
                    <a:pt x="943" y="3482"/>
                    <a:pt x="903" y="3431"/>
                    <a:pt x="897" y="3419"/>
                  </a:cubicBezTo>
                  <a:cubicBezTo>
                    <a:pt x="869" y="3380"/>
                    <a:pt x="841" y="3374"/>
                    <a:pt x="824" y="3323"/>
                  </a:cubicBezTo>
                  <a:cubicBezTo>
                    <a:pt x="818" y="3300"/>
                    <a:pt x="795" y="3260"/>
                    <a:pt x="795" y="3249"/>
                  </a:cubicBezTo>
                  <a:cubicBezTo>
                    <a:pt x="846" y="3249"/>
                    <a:pt x="858" y="3232"/>
                    <a:pt x="869" y="3187"/>
                  </a:cubicBezTo>
                  <a:cubicBezTo>
                    <a:pt x="880" y="3147"/>
                    <a:pt x="903" y="3130"/>
                    <a:pt x="903" y="3084"/>
                  </a:cubicBezTo>
                  <a:cubicBezTo>
                    <a:pt x="903" y="3062"/>
                    <a:pt x="880" y="3044"/>
                    <a:pt x="880" y="3039"/>
                  </a:cubicBezTo>
                  <a:cubicBezTo>
                    <a:pt x="875" y="3039"/>
                    <a:pt x="875" y="3039"/>
                    <a:pt x="875" y="3039"/>
                  </a:cubicBezTo>
                  <a:cubicBezTo>
                    <a:pt x="875" y="3056"/>
                    <a:pt x="767" y="3124"/>
                    <a:pt x="750" y="3130"/>
                  </a:cubicBezTo>
                  <a:cubicBezTo>
                    <a:pt x="687" y="3135"/>
                    <a:pt x="664" y="3181"/>
                    <a:pt x="596" y="3135"/>
                  </a:cubicBezTo>
                  <a:cubicBezTo>
                    <a:pt x="568" y="3118"/>
                    <a:pt x="528" y="3113"/>
                    <a:pt x="511" y="3084"/>
                  </a:cubicBezTo>
                  <a:cubicBezTo>
                    <a:pt x="460" y="3005"/>
                    <a:pt x="460" y="3005"/>
                    <a:pt x="460" y="3005"/>
                  </a:cubicBezTo>
                  <a:cubicBezTo>
                    <a:pt x="449" y="2982"/>
                    <a:pt x="426" y="2988"/>
                    <a:pt x="403" y="2976"/>
                  </a:cubicBezTo>
                  <a:cubicBezTo>
                    <a:pt x="358" y="2948"/>
                    <a:pt x="335" y="2885"/>
                    <a:pt x="301" y="2852"/>
                  </a:cubicBezTo>
                  <a:cubicBezTo>
                    <a:pt x="278" y="2818"/>
                    <a:pt x="238" y="2830"/>
                    <a:pt x="272" y="2795"/>
                  </a:cubicBezTo>
                  <a:cubicBezTo>
                    <a:pt x="290" y="2773"/>
                    <a:pt x="312" y="2733"/>
                    <a:pt x="312" y="2705"/>
                  </a:cubicBezTo>
                  <a:cubicBezTo>
                    <a:pt x="318" y="2682"/>
                    <a:pt x="341" y="2614"/>
                    <a:pt x="329" y="2591"/>
                  </a:cubicBezTo>
                  <a:cubicBezTo>
                    <a:pt x="324" y="2585"/>
                    <a:pt x="284" y="2551"/>
                    <a:pt x="306" y="2545"/>
                  </a:cubicBezTo>
                  <a:cubicBezTo>
                    <a:pt x="306" y="2534"/>
                    <a:pt x="306" y="2534"/>
                    <a:pt x="306" y="2534"/>
                  </a:cubicBezTo>
                  <a:cubicBezTo>
                    <a:pt x="301" y="2483"/>
                    <a:pt x="301" y="2483"/>
                    <a:pt x="301" y="2483"/>
                  </a:cubicBezTo>
                  <a:cubicBezTo>
                    <a:pt x="272" y="2489"/>
                    <a:pt x="272" y="2489"/>
                    <a:pt x="272" y="2489"/>
                  </a:cubicBezTo>
                  <a:cubicBezTo>
                    <a:pt x="233" y="2517"/>
                    <a:pt x="233" y="2517"/>
                    <a:pt x="233" y="2517"/>
                  </a:cubicBezTo>
                  <a:cubicBezTo>
                    <a:pt x="193" y="2545"/>
                    <a:pt x="193" y="2545"/>
                    <a:pt x="193" y="2545"/>
                  </a:cubicBezTo>
                  <a:cubicBezTo>
                    <a:pt x="153" y="2551"/>
                    <a:pt x="153" y="2551"/>
                    <a:pt x="153" y="2551"/>
                  </a:cubicBezTo>
                  <a:cubicBezTo>
                    <a:pt x="113" y="2523"/>
                    <a:pt x="113" y="2523"/>
                    <a:pt x="113" y="2523"/>
                  </a:cubicBezTo>
                  <a:cubicBezTo>
                    <a:pt x="119" y="2489"/>
                    <a:pt x="119" y="2489"/>
                    <a:pt x="119" y="2489"/>
                  </a:cubicBezTo>
                  <a:cubicBezTo>
                    <a:pt x="125" y="2466"/>
                    <a:pt x="142" y="2364"/>
                    <a:pt x="119" y="2352"/>
                  </a:cubicBezTo>
                  <a:cubicBezTo>
                    <a:pt x="102" y="2341"/>
                    <a:pt x="74" y="2347"/>
                    <a:pt x="56" y="2352"/>
                  </a:cubicBezTo>
                  <a:cubicBezTo>
                    <a:pt x="40" y="2358"/>
                    <a:pt x="28" y="2364"/>
                    <a:pt x="17" y="2364"/>
                  </a:cubicBezTo>
                  <a:cubicBezTo>
                    <a:pt x="0" y="2358"/>
                    <a:pt x="22" y="2290"/>
                    <a:pt x="28" y="2279"/>
                  </a:cubicBezTo>
                  <a:cubicBezTo>
                    <a:pt x="40" y="2244"/>
                    <a:pt x="51" y="2210"/>
                    <a:pt x="56" y="2171"/>
                  </a:cubicBezTo>
                  <a:cubicBezTo>
                    <a:pt x="62" y="2136"/>
                    <a:pt x="51" y="2108"/>
                    <a:pt x="51" y="2068"/>
                  </a:cubicBezTo>
                  <a:cubicBezTo>
                    <a:pt x="51" y="2051"/>
                    <a:pt x="62" y="2023"/>
                    <a:pt x="56" y="2006"/>
                  </a:cubicBezTo>
                  <a:cubicBezTo>
                    <a:pt x="96" y="1983"/>
                    <a:pt x="96" y="1983"/>
                    <a:pt x="96" y="1983"/>
                  </a:cubicBezTo>
                  <a:lnTo>
                    <a:pt x="96" y="1983"/>
                  </a:lnTo>
                  <a:cubicBezTo>
                    <a:pt x="238" y="1994"/>
                    <a:pt x="238" y="1994"/>
                    <a:pt x="238" y="1994"/>
                  </a:cubicBezTo>
                  <a:cubicBezTo>
                    <a:pt x="233" y="2040"/>
                    <a:pt x="272" y="2029"/>
                    <a:pt x="301" y="2029"/>
                  </a:cubicBezTo>
                  <a:cubicBezTo>
                    <a:pt x="363" y="2023"/>
                    <a:pt x="386" y="1949"/>
                    <a:pt x="432" y="1926"/>
                  </a:cubicBezTo>
                  <a:cubicBezTo>
                    <a:pt x="466" y="1909"/>
                    <a:pt x="488" y="1898"/>
                    <a:pt x="488" y="1949"/>
                  </a:cubicBezTo>
                  <a:cubicBezTo>
                    <a:pt x="488" y="2023"/>
                    <a:pt x="556" y="1960"/>
                    <a:pt x="596" y="1949"/>
                  </a:cubicBezTo>
                  <a:cubicBezTo>
                    <a:pt x="636" y="1938"/>
                    <a:pt x="596" y="1909"/>
                    <a:pt x="613" y="1886"/>
                  </a:cubicBezTo>
                  <a:cubicBezTo>
                    <a:pt x="625" y="1870"/>
                    <a:pt x="670" y="1847"/>
                    <a:pt x="687" y="1835"/>
                  </a:cubicBezTo>
                  <a:cubicBezTo>
                    <a:pt x="710" y="1852"/>
                    <a:pt x="733" y="1801"/>
                    <a:pt x="733" y="1784"/>
                  </a:cubicBezTo>
                  <a:cubicBezTo>
                    <a:pt x="738" y="1773"/>
                    <a:pt x="738" y="1727"/>
                    <a:pt x="750" y="1722"/>
                  </a:cubicBezTo>
                  <a:cubicBezTo>
                    <a:pt x="755" y="1722"/>
                    <a:pt x="784" y="1739"/>
                    <a:pt x="795" y="1739"/>
                  </a:cubicBezTo>
                  <a:cubicBezTo>
                    <a:pt x="801" y="1739"/>
                    <a:pt x="875" y="1710"/>
                    <a:pt x="869" y="1727"/>
                  </a:cubicBezTo>
                  <a:cubicBezTo>
                    <a:pt x="852" y="1744"/>
                    <a:pt x="875" y="1762"/>
                    <a:pt x="880" y="1779"/>
                  </a:cubicBezTo>
                  <a:cubicBezTo>
                    <a:pt x="886" y="1801"/>
                    <a:pt x="892" y="1852"/>
                    <a:pt x="932" y="1852"/>
                  </a:cubicBezTo>
                  <a:cubicBezTo>
                    <a:pt x="966" y="1858"/>
                    <a:pt x="988" y="1824"/>
                    <a:pt x="1028" y="1824"/>
                  </a:cubicBezTo>
                  <a:lnTo>
                    <a:pt x="1028" y="1824"/>
                  </a:lnTo>
                  <a:cubicBezTo>
                    <a:pt x="1062" y="1841"/>
                    <a:pt x="1062" y="1841"/>
                    <a:pt x="1062" y="1841"/>
                  </a:cubicBezTo>
                  <a:cubicBezTo>
                    <a:pt x="1091" y="1852"/>
                    <a:pt x="1102" y="1824"/>
                    <a:pt x="1119" y="1813"/>
                  </a:cubicBezTo>
                  <a:cubicBezTo>
                    <a:pt x="1136" y="1796"/>
                    <a:pt x="1159" y="1790"/>
                    <a:pt x="1176" y="1773"/>
                  </a:cubicBezTo>
                  <a:cubicBezTo>
                    <a:pt x="1193" y="1756"/>
                    <a:pt x="1267" y="1699"/>
                    <a:pt x="1267" y="1676"/>
                  </a:cubicBezTo>
                  <a:cubicBezTo>
                    <a:pt x="1267" y="1636"/>
                    <a:pt x="1301" y="1688"/>
                    <a:pt x="1301" y="1699"/>
                  </a:cubicBezTo>
                  <a:cubicBezTo>
                    <a:pt x="1301" y="1739"/>
                    <a:pt x="1312" y="1796"/>
                    <a:pt x="1335" y="1824"/>
                  </a:cubicBezTo>
                  <a:cubicBezTo>
                    <a:pt x="1358" y="1858"/>
                    <a:pt x="1431" y="1727"/>
                    <a:pt x="1449" y="1722"/>
                  </a:cubicBezTo>
                  <a:cubicBezTo>
                    <a:pt x="1511" y="1722"/>
                    <a:pt x="1568" y="1767"/>
                    <a:pt x="1636" y="1762"/>
                  </a:cubicBezTo>
                  <a:cubicBezTo>
                    <a:pt x="1647" y="1762"/>
                    <a:pt x="1681" y="1756"/>
                    <a:pt x="1681" y="1762"/>
                  </a:cubicBezTo>
                  <a:cubicBezTo>
                    <a:pt x="1687" y="1762"/>
                    <a:pt x="1715" y="1813"/>
                    <a:pt x="1744" y="1818"/>
                  </a:cubicBezTo>
                  <a:cubicBezTo>
                    <a:pt x="1772" y="1824"/>
                    <a:pt x="1795" y="1852"/>
                    <a:pt x="1812" y="1847"/>
                  </a:cubicBezTo>
                  <a:cubicBezTo>
                    <a:pt x="1863" y="1835"/>
                    <a:pt x="1920" y="1909"/>
                    <a:pt x="1960" y="1898"/>
                  </a:cubicBezTo>
                  <a:cubicBezTo>
                    <a:pt x="1983" y="1886"/>
                    <a:pt x="2005" y="1977"/>
                    <a:pt x="2062" y="1943"/>
                  </a:cubicBezTo>
                  <a:cubicBezTo>
                    <a:pt x="2102" y="1926"/>
                    <a:pt x="2146" y="1960"/>
                    <a:pt x="2186" y="1977"/>
                  </a:cubicBezTo>
                  <a:cubicBezTo>
                    <a:pt x="2203" y="2006"/>
                    <a:pt x="2226" y="2017"/>
                    <a:pt x="2198" y="2051"/>
                  </a:cubicBezTo>
                  <a:cubicBezTo>
                    <a:pt x="2180" y="2080"/>
                    <a:pt x="2180" y="2091"/>
                    <a:pt x="2146" y="2114"/>
                  </a:cubicBezTo>
                  <a:cubicBezTo>
                    <a:pt x="2102" y="2148"/>
                    <a:pt x="2062" y="2171"/>
                    <a:pt x="2034" y="2222"/>
                  </a:cubicBezTo>
                  <a:cubicBezTo>
                    <a:pt x="2022" y="2227"/>
                    <a:pt x="2034" y="2244"/>
                    <a:pt x="2017" y="2244"/>
                  </a:cubicBezTo>
                  <a:cubicBezTo>
                    <a:pt x="2000" y="2244"/>
                    <a:pt x="1983" y="2227"/>
                    <a:pt x="1965" y="2233"/>
                  </a:cubicBezTo>
                  <a:cubicBezTo>
                    <a:pt x="1949" y="2244"/>
                    <a:pt x="1926" y="2267"/>
                    <a:pt x="1909" y="2267"/>
                  </a:cubicBezTo>
                  <a:cubicBezTo>
                    <a:pt x="1886" y="2267"/>
                    <a:pt x="1909" y="2318"/>
                    <a:pt x="1914" y="2330"/>
                  </a:cubicBezTo>
                  <a:cubicBezTo>
                    <a:pt x="1949" y="2404"/>
                    <a:pt x="2022" y="2284"/>
                    <a:pt x="2056" y="2262"/>
                  </a:cubicBezTo>
                  <a:cubicBezTo>
                    <a:pt x="2096" y="2239"/>
                    <a:pt x="2152" y="2233"/>
                    <a:pt x="2180" y="2216"/>
                  </a:cubicBezTo>
                  <a:cubicBezTo>
                    <a:pt x="2192" y="2205"/>
                    <a:pt x="2203" y="2176"/>
                    <a:pt x="2220" y="2165"/>
                  </a:cubicBezTo>
                  <a:cubicBezTo>
                    <a:pt x="2260" y="2120"/>
                    <a:pt x="2305" y="2148"/>
                    <a:pt x="2351" y="2102"/>
                  </a:cubicBezTo>
                  <a:cubicBezTo>
                    <a:pt x="2385" y="2097"/>
                    <a:pt x="2425" y="2097"/>
                    <a:pt x="2470" y="2097"/>
                  </a:cubicBezTo>
                  <a:cubicBezTo>
                    <a:pt x="2476" y="2097"/>
                    <a:pt x="2482" y="2097"/>
                    <a:pt x="2493" y="2097"/>
                  </a:cubicBezTo>
                  <a:cubicBezTo>
                    <a:pt x="2499" y="2091"/>
                    <a:pt x="2499" y="2091"/>
                    <a:pt x="2499" y="2091"/>
                  </a:cubicBezTo>
                  <a:cubicBezTo>
                    <a:pt x="2499" y="2074"/>
                    <a:pt x="2504" y="2063"/>
                    <a:pt x="2504" y="2046"/>
                  </a:cubicBezTo>
                  <a:cubicBezTo>
                    <a:pt x="2504" y="2034"/>
                    <a:pt x="2521" y="2029"/>
                    <a:pt x="2533" y="2029"/>
                  </a:cubicBezTo>
                  <a:cubicBezTo>
                    <a:pt x="2567" y="2023"/>
                    <a:pt x="2578" y="2063"/>
                    <a:pt x="2590" y="2085"/>
                  </a:cubicBezTo>
                  <a:cubicBezTo>
                    <a:pt x="2629" y="2080"/>
                    <a:pt x="2669" y="2074"/>
                    <a:pt x="2714" y="2074"/>
                  </a:cubicBezTo>
                  <a:cubicBezTo>
                    <a:pt x="2885" y="2074"/>
                    <a:pt x="2834" y="1983"/>
                    <a:pt x="2879" y="1898"/>
                  </a:cubicBezTo>
                  <a:cubicBezTo>
                    <a:pt x="2857" y="1841"/>
                    <a:pt x="2857" y="1841"/>
                    <a:pt x="2857" y="1841"/>
                  </a:cubicBezTo>
                  <a:cubicBezTo>
                    <a:pt x="2857" y="1807"/>
                    <a:pt x="2845" y="1762"/>
                    <a:pt x="2828" y="1727"/>
                  </a:cubicBezTo>
                  <a:cubicBezTo>
                    <a:pt x="2805" y="1699"/>
                    <a:pt x="2754" y="1767"/>
                    <a:pt x="2743" y="1784"/>
                  </a:cubicBezTo>
                  <a:cubicBezTo>
                    <a:pt x="2732" y="1801"/>
                    <a:pt x="2714" y="1756"/>
                    <a:pt x="2720" y="1750"/>
                  </a:cubicBezTo>
                  <a:cubicBezTo>
                    <a:pt x="2720" y="1744"/>
                    <a:pt x="2732" y="1733"/>
                    <a:pt x="2732" y="1722"/>
                  </a:cubicBezTo>
                  <a:cubicBezTo>
                    <a:pt x="2732" y="1710"/>
                    <a:pt x="2732" y="1693"/>
                    <a:pt x="2737" y="1682"/>
                  </a:cubicBezTo>
                  <a:cubicBezTo>
                    <a:pt x="2743" y="1648"/>
                    <a:pt x="2783" y="1608"/>
                    <a:pt x="2771" y="1574"/>
                  </a:cubicBezTo>
                  <a:cubicBezTo>
                    <a:pt x="2760" y="1551"/>
                    <a:pt x="2788" y="1534"/>
                    <a:pt x="2794" y="1517"/>
                  </a:cubicBezTo>
                  <a:cubicBezTo>
                    <a:pt x="2794" y="1506"/>
                    <a:pt x="2777" y="1472"/>
                    <a:pt x="2766" y="1466"/>
                  </a:cubicBezTo>
                  <a:cubicBezTo>
                    <a:pt x="2743" y="1449"/>
                    <a:pt x="2714" y="1466"/>
                    <a:pt x="2714" y="1426"/>
                  </a:cubicBezTo>
                  <a:cubicBezTo>
                    <a:pt x="2714" y="1381"/>
                    <a:pt x="2709" y="1347"/>
                    <a:pt x="2675" y="1318"/>
                  </a:cubicBezTo>
                  <a:cubicBezTo>
                    <a:pt x="2646" y="1296"/>
                    <a:pt x="2601" y="1307"/>
                    <a:pt x="2601" y="1267"/>
                  </a:cubicBezTo>
                  <a:cubicBezTo>
                    <a:pt x="2601" y="1233"/>
                    <a:pt x="2584" y="1245"/>
                    <a:pt x="2567" y="1227"/>
                  </a:cubicBezTo>
                  <a:cubicBezTo>
                    <a:pt x="2533" y="1205"/>
                    <a:pt x="2567" y="1159"/>
                    <a:pt x="2555" y="1131"/>
                  </a:cubicBezTo>
                  <a:cubicBezTo>
                    <a:pt x="2555" y="1114"/>
                    <a:pt x="2521" y="1137"/>
                    <a:pt x="2510" y="1120"/>
                  </a:cubicBezTo>
                  <a:cubicBezTo>
                    <a:pt x="2499" y="1103"/>
                    <a:pt x="2510" y="1068"/>
                    <a:pt x="2487" y="1068"/>
                  </a:cubicBezTo>
                  <a:cubicBezTo>
                    <a:pt x="2459" y="1068"/>
                    <a:pt x="2430" y="1097"/>
                    <a:pt x="2408" y="1074"/>
                  </a:cubicBezTo>
                  <a:cubicBezTo>
                    <a:pt x="2385" y="1051"/>
                    <a:pt x="2402" y="1017"/>
                    <a:pt x="2408" y="989"/>
                  </a:cubicBezTo>
                  <a:cubicBezTo>
                    <a:pt x="2408" y="972"/>
                    <a:pt x="2413" y="921"/>
                    <a:pt x="2396" y="915"/>
                  </a:cubicBezTo>
                  <a:cubicBezTo>
                    <a:pt x="2379" y="909"/>
                    <a:pt x="2334" y="915"/>
                    <a:pt x="2340" y="892"/>
                  </a:cubicBezTo>
                  <a:cubicBezTo>
                    <a:pt x="2362" y="853"/>
                    <a:pt x="2368" y="818"/>
                    <a:pt x="2385" y="773"/>
                  </a:cubicBezTo>
                  <a:cubicBezTo>
                    <a:pt x="2391" y="745"/>
                    <a:pt x="2436" y="750"/>
                    <a:pt x="2402" y="716"/>
                  </a:cubicBezTo>
                  <a:cubicBezTo>
                    <a:pt x="2385" y="694"/>
                    <a:pt x="2402" y="699"/>
                    <a:pt x="2408" y="682"/>
                  </a:cubicBezTo>
                  <a:cubicBezTo>
                    <a:pt x="2419" y="665"/>
                    <a:pt x="2419" y="642"/>
                    <a:pt x="2425" y="620"/>
                  </a:cubicBezTo>
                  <a:cubicBezTo>
                    <a:pt x="2436" y="591"/>
                    <a:pt x="2448" y="568"/>
                    <a:pt x="2459" y="540"/>
                  </a:cubicBezTo>
                  <a:cubicBezTo>
                    <a:pt x="2459" y="512"/>
                    <a:pt x="2425" y="506"/>
                    <a:pt x="2419" y="483"/>
                  </a:cubicBezTo>
                  <a:cubicBezTo>
                    <a:pt x="2408" y="466"/>
                    <a:pt x="2430" y="438"/>
                    <a:pt x="2430" y="421"/>
                  </a:cubicBezTo>
                  <a:cubicBezTo>
                    <a:pt x="2413" y="415"/>
                    <a:pt x="2362" y="421"/>
                    <a:pt x="2356" y="392"/>
                  </a:cubicBezTo>
                  <a:cubicBezTo>
                    <a:pt x="2351" y="370"/>
                    <a:pt x="2345" y="341"/>
                    <a:pt x="2317" y="336"/>
                  </a:cubicBezTo>
                  <a:cubicBezTo>
                    <a:pt x="2294" y="324"/>
                    <a:pt x="2294" y="313"/>
                    <a:pt x="2294" y="29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9" name="Freeform 160"/>
            <p:cNvSpPr>
              <a:spLocks noChangeArrowheads="1"/>
            </p:cNvSpPr>
            <p:nvPr/>
          </p:nvSpPr>
          <p:spPr bwMode="auto">
            <a:xfrm>
              <a:off x="18316524" y="6454022"/>
              <a:ext cx="1729477" cy="3233451"/>
            </a:xfrm>
            <a:custGeom>
              <a:avLst/>
              <a:gdLst>
                <a:gd name="T0" fmla="*/ 955 w 2501"/>
                <a:gd name="T1" fmla="*/ 4629 h 4676"/>
                <a:gd name="T2" fmla="*/ 1091 w 2501"/>
                <a:gd name="T3" fmla="*/ 4322 h 4676"/>
                <a:gd name="T4" fmla="*/ 1250 w 2501"/>
                <a:gd name="T5" fmla="*/ 3936 h 4676"/>
                <a:gd name="T6" fmla="*/ 1386 w 2501"/>
                <a:gd name="T7" fmla="*/ 3868 h 4676"/>
                <a:gd name="T8" fmla="*/ 1608 w 2501"/>
                <a:gd name="T9" fmla="*/ 3629 h 4676"/>
                <a:gd name="T10" fmla="*/ 1807 w 2501"/>
                <a:gd name="T11" fmla="*/ 3510 h 4676"/>
                <a:gd name="T12" fmla="*/ 1955 w 2501"/>
                <a:gd name="T13" fmla="*/ 3430 h 4676"/>
                <a:gd name="T14" fmla="*/ 2125 w 2501"/>
                <a:gd name="T15" fmla="*/ 3288 h 4676"/>
                <a:gd name="T16" fmla="*/ 2085 w 2501"/>
                <a:gd name="T17" fmla="*/ 3135 h 4676"/>
                <a:gd name="T18" fmla="*/ 1619 w 2501"/>
                <a:gd name="T19" fmla="*/ 2561 h 4676"/>
                <a:gd name="T20" fmla="*/ 1494 w 2501"/>
                <a:gd name="T21" fmla="*/ 2164 h 4676"/>
                <a:gd name="T22" fmla="*/ 1563 w 2501"/>
                <a:gd name="T23" fmla="*/ 1881 h 4676"/>
                <a:gd name="T24" fmla="*/ 1886 w 2501"/>
                <a:gd name="T25" fmla="*/ 1358 h 4676"/>
                <a:gd name="T26" fmla="*/ 1943 w 2501"/>
                <a:gd name="T27" fmla="*/ 1216 h 4676"/>
                <a:gd name="T28" fmla="*/ 2159 w 2501"/>
                <a:gd name="T29" fmla="*/ 949 h 4676"/>
                <a:gd name="T30" fmla="*/ 2500 w 2501"/>
                <a:gd name="T31" fmla="*/ 432 h 4676"/>
                <a:gd name="T32" fmla="*/ 2409 w 2501"/>
                <a:gd name="T33" fmla="*/ 352 h 4676"/>
                <a:gd name="T34" fmla="*/ 2210 w 2501"/>
                <a:gd name="T35" fmla="*/ 222 h 4676"/>
                <a:gd name="T36" fmla="*/ 2119 w 2501"/>
                <a:gd name="T37" fmla="*/ 102 h 4676"/>
                <a:gd name="T38" fmla="*/ 2063 w 2501"/>
                <a:gd name="T39" fmla="*/ 108 h 4676"/>
                <a:gd name="T40" fmla="*/ 1943 w 2501"/>
                <a:gd name="T41" fmla="*/ 142 h 4676"/>
                <a:gd name="T42" fmla="*/ 1705 w 2501"/>
                <a:gd name="T43" fmla="*/ 28 h 4676"/>
                <a:gd name="T44" fmla="*/ 1528 w 2501"/>
                <a:gd name="T45" fmla="*/ 187 h 4676"/>
                <a:gd name="T46" fmla="*/ 1500 w 2501"/>
                <a:gd name="T47" fmla="*/ 290 h 4676"/>
                <a:gd name="T48" fmla="*/ 1517 w 2501"/>
                <a:gd name="T49" fmla="*/ 449 h 4676"/>
                <a:gd name="T50" fmla="*/ 1483 w 2501"/>
                <a:gd name="T51" fmla="*/ 597 h 4676"/>
                <a:gd name="T52" fmla="*/ 1409 w 2501"/>
                <a:gd name="T53" fmla="*/ 773 h 4676"/>
                <a:gd name="T54" fmla="*/ 1216 w 2501"/>
                <a:gd name="T55" fmla="*/ 869 h 4676"/>
                <a:gd name="T56" fmla="*/ 1125 w 2501"/>
                <a:gd name="T57" fmla="*/ 1159 h 4676"/>
                <a:gd name="T58" fmla="*/ 847 w 2501"/>
                <a:gd name="T59" fmla="*/ 1324 h 4676"/>
                <a:gd name="T60" fmla="*/ 898 w 2501"/>
                <a:gd name="T61" fmla="*/ 1460 h 4676"/>
                <a:gd name="T62" fmla="*/ 762 w 2501"/>
                <a:gd name="T63" fmla="*/ 1472 h 4676"/>
                <a:gd name="T64" fmla="*/ 671 w 2501"/>
                <a:gd name="T65" fmla="*/ 1301 h 4676"/>
                <a:gd name="T66" fmla="*/ 477 w 2501"/>
                <a:gd name="T67" fmla="*/ 1312 h 4676"/>
                <a:gd name="T68" fmla="*/ 404 w 2501"/>
                <a:gd name="T69" fmla="*/ 1403 h 4676"/>
                <a:gd name="T70" fmla="*/ 233 w 2501"/>
                <a:gd name="T71" fmla="*/ 1778 h 4676"/>
                <a:gd name="T72" fmla="*/ 85 w 2501"/>
                <a:gd name="T73" fmla="*/ 2215 h 4676"/>
                <a:gd name="T74" fmla="*/ 296 w 2501"/>
                <a:gd name="T75" fmla="*/ 2323 h 4676"/>
                <a:gd name="T76" fmla="*/ 369 w 2501"/>
                <a:gd name="T77" fmla="*/ 2641 h 4676"/>
                <a:gd name="T78" fmla="*/ 364 w 2501"/>
                <a:gd name="T79" fmla="*/ 2805 h 4676"/>
                <a:gd name="T80" fmla="*/ 625 w 2501"/>
                <a:gd name="T81" fmla="*/ 2948 h 4676"/>
                <a:gd name="T82" fmla="*/ 739 w 2501"/>
                <a:gd name="T83" fmla="*/ 3118 h 4676"/>
                <a:gd name="T84" fmla="*/ 688 w 2501"/>
                <a:gd name="T85" fmla="*/ 3391 h 4676"/>
                <a:gd name="T86" fmla="*/ 642 w 2501"/>
                <a:gd name="T87" fmla="*/ 3425 h 4676"/>
                <a:gd name="T88" fmla="*/ 636 w 2501"/>
                <a:gd name="T89" fmla="*/ 3561 h 4676"/>
                <a:gd name="T90" fmla="*/ 563 w 2501"/>
                <a:gd name="T91" fmla="*/ 3879 h 4676"/>
                <a:gd name="T92" fmla="*/ 676 w 2501"/>
                <a:gd name="T93" fmla="*/ 4373 h 4676"/>
                <a:gd name="T94" fmla="*/ 108 w 2501"/>
                <a:gd name="T95" fmla="*/ 1040 h 4676"/>
                <a:gd name="T96" fmla="*/ 290 w 2501"/>
                <a:gd name="T97" fmla="*/ 926 h 4676"/>
                <a:gd name="T98" fmla="*/ 347 w 2501"/>
                <a:gd name="T99" fmla="*/ 1028 h 4676"/>
                <a:gd name="T100" fmla="*/ 455 w 2501"/>
                <a:gd name="T101" fmla="*/ 1256 h 4676"/>
                <a:gd name="T102" fmla="*/ 296 w 2501"/>
                <a:gd name="T103" fmla="*/ 1261 h 4676"/>
                <a:gd name="T104" fmla="*/ 131 w 2501"/>
                <a:gd name="T105" fmla="*/ 1108 h 4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01" h="4676">
                  <a:moveTo>
                    <a:pt x="949" y="4675"/>
                  </a:moveTo>
                  <a:lnTo>
                    <a:pt x="949" y="4675"/>
                  </a:lnTo>
                  <a:cubicBezTo>
                    <a:pt x="949" y="4658"/>
                    <a:pt x="949" y="4641"/>
                    <a:pt x="955" y="4629"/>
                  </a:cubicBezTo>
                  <a:cubicBezTo>
                    <a:pt x="960" y="4578"/>
                    <a:pt x="1006" y="4521"/>
                    <a:pt x="1034" y="4476"/>
                  </a:cubicBezTo>
                  <a:cubicBezTo>
                    <a:pt x="1051" y="4459"/>
                    <a:pt x="1074" y="4442"/>
                    <a:pt x="1085" y="4419"/>
                  </a:cubicBezTo>
                  <a:cubicBezTo>
                    <a:pt x="1091" y="4396"/>
                    <a:pt x="1091" y="4345"/>
                    <a:pt x="1091" y="4322"/>
                  </a:cubicBezTo>
                  <a:cubicBezTo>
                    <a:pt x="1085" y="4277"/>
                    <a:pt x="1091" y="4146"/>
                    <a:pt x="1136" y="4129"/>
                  </a:cubicBezTo>
                  <a:cubicBezTo>
                    <a:pt x="1165" y="4112"/>
                    <a:pt x="1216" y="4146"/>
                    <a:pt x="1250" y="4112"/>
                  </a:cubicBezTo>
                  <a:cubicBezTo>
                    <a:pt x="1284" y="4072"/>
                    <a:pt x="1227" y="3987"/>
                    <a:pt x="1250" y="3936"/>
                  </a:cubicBezTo>
                  <a:cubicBezTo>
                    <a:pt x="1262" y="3908"/>
                    <a:pt x="1290" y="3879"/>
                    <a:pt x="1318" y="3868"/>
                  </a:cubicBezTo>
                  <a:cubicBezTo>
                    <a:pt x="1341" y="3851"/>
                    <a:pt x="1358" y="3868"/>
                    <a:pt x="1386" y="3868"/>
                  </a:cubicBezTo>
                  <a:lnTo>
                    <a:pt x="1386" y="3868"/>
                  </a:lnTo>
                  <a:cubicBezTo>
                    <a:pt x="1386" y="3862"/>
                    <a:pt x="1381" y="3834"/>
                    <a:pt x="1381" y="3828"/>
                  </a:cubicBezTo>
                  <a:cubicBezTo>
                    <a:pt x="1381" y="3805"/>
                    <a:pt x="1398" y="3771"/>
                    <a:pt x="1409" y="3760"/>
                  </a:cubicBezTo>
                  <a:cubicBezTo>
                    <a:pt x="1455" y="3686"/>
                    <a:pt x="1528" y="3652"/>
                    <a:pt x="1608" y="3629"/>
                  </a:cubicBezTo>
                  <a:cubicBezTo>
                    <a:pt x="1648" y="3618"/>
                    <a:pt x="1687" y="3584"/>
                    <a:pt x="1727" y="3590"/>
                  </a:cubicBezTo>
                  <a:cubicBezTo>
                    <a:pt x="1767" y="3595"/>
                    <a:pt x="1778" y="3601"/>
                    <a:pt x="1807" y="3567"/>
                  </a:cubicBezTo>
                  <a:cubicBezTo>
                    <a:pt x="1830" y="3544"/>
                    <a:pt x="1795" y="3538"/>
                    <a:pt x="1807" y="3510"/>
                  </a:cubicBezTo>
                  <a:cubicBezTo>
                    <a:pt x="1813" y="3493"/>
                    <a:pt x="1858" y="3419"/>
                    <a:pt x="1886" y="3430"/>
                  </a:cubicBezTo>
                  <a:cubicBezTo>
                    <a:pt x="1903" y="3436"/>
                    <a:pt x="1943" y="3408"/>
                    <a:pt x="1949" y="3419"/>
                  </a:cubicBezTo>
                  <a:lnTo>
                    <a:pt x="1955" y="3430"/>
                  </a:lnTo>
                  <a:cubicBezTo>
                    <a:pt x="1977" y="3430"/>
                    <a:pt x="1983" y="3379"/>
                    <a:pt x="2017" y="3357"/>
                  </a:cubicBezTo>
                  <a:cubicBezTo>
                    <a:pt x="2034" y="3351"/>
                    <a:pt x="2057" y="3357"/>
                    <a:pt x="2068" y="3351"/>
                  </a:cubicBezTo>
                  <a:cubicBezTo>
                    <a:pt x="2097" y="3328"/>
                    <a:pt x="2085" y="3305"/>
                    <a:pt x="2125" y="3288"/>
                  </a:cubicBezTo>
                  <a:cubicBezTo>
                    <a:pt x="2216" y="3243"/>
                    <a:pt x="2142" y="3243"/>
                    <a:pt x="2102" y="3192"/>
                  </a:cubicBezTo>
                  <a:cubicBezTo>
                    <a:pt x="2085" y="3175"/>
                    <a:pt x="2125" y="3175"/>
                    <a:pt x="2125" y="3158"/>
                  </a:cubicBezTo>
                  <a:cubicBezTo>
                    <a:pt x="2125" y="3152"/>
                    <a:pt x="2091" y="3141"/>
                    <a:pt x="2085" y="3135"/>
                  </a:cubicBezTo>
                  <a:cubicBezTo>
                    <a:pt x="2017" y="3095"/>
                    <a:pt x="1983" y="3084"/>
                    <a:pt x="1909" y="3067"/>
                  </a:cubicBezTo>
                  <a:cubicBezTo>
                    <a:pt x="1830" y="3055"/>
                    <a:pt x="1795" y="2982"/>
                    <a:pt x="1744" y="2931"/>
                  </a:cubicBezTo>
                  <a:cubicBezTo>
                    <a:pt x="1716" y="2879"/>
                    <a:pt x="1517" y="2590"/>
                    <a:pt x="1619" y="2561"/>
                  </a:cubicBezTo>
                  <a:cubicBezTo>
                    <a:pt x="1625" y="2539"/>
                    <a:pt x="1557" y="2425"/>
                    <a:pt x="1545" y="2391"/>
                  </a:cubicBezTo>
                  <a:cubicBezTo>
                    <a:pt x="1517" y="2345"/>
                    <a:pt x="1500" y="2294"/>
                    <a:pt x="1483" y="2249"/>
                  </a:cubicBezTo>
                  <a:cubicBezTo>
                    <a:pt x="1466" y="2209"/>
                    <a:pt x="1477" y="2192"/>
                    <a:pt x="1494" y="2164"/>
                  </a:cubicBezTo>
                  <a:cubicBezTo>
                    <a:pt x="1506" y="2146"/>
                    <a:pt x="1489" y="2112"/>
                    <a:pt x="1489" y="2095"/>
                  </a:cubicBezTo>
                  <a:cubicBezTo>
                    <a:pt x="1483" y="2056"/>
                    <a:pt x="1494" y="2022"/>
                    <a:pt x="1517" y="1987"/>
                  </a:cubicBezTo>
                  <a:cubicBezTo>
                    <a:pt x="1540" y="1960"/>
                    <a:pt x="1540" y="1903"/>
                    <a:pt x="1563" y="1881"/>
                  </a:cubicBezTo>
                  <a:cubicBezTo>
                    <a:pt x="1574" y="1829"/>
                    <a:pt x="1619" y="1852"/>
                    <a:pt x="1631" y="1801"/>
                  </a:cubicBezTo>
                  <a:cubicBezTo>
                    <a:pt x="1648" y="1716"/>
                    <a:pt x="1682" y="1631"/>
                    <a:pt x="1739" y="1557"/>
                  </a:cubicBezTo>
                  <a:cubicBezTo>
                    <a:pt x="1784" y="1500"/>
                    <a:pt x="1869" y="1426"/>
                    <a:pt x="1886" y="1358"/>
                  </a:cubicBezTo>
                  <a:cubicBezTo>
                    <a:pt x="1886" y="1352"/>
                    <a:pt x="1886" y="1335"/>
                    <a:pt x="1886" y="1324"/>
                  </a:cubicBezTo>
                  <a:cubicBezTo>
                    <a:pt x="1892" y="1324"/>
                    <a:pt x="1892" y="1324"/>
                    <a:pt x="1892" y="1324"/>
                  </a:cubicBezTo>
                  <a:cubicBezTo>
                    <a:pt x="1932" y="1318"/>
                    <a:pt x="1926" y="1256"/>
                    <a:pt x="1943" y="1216"/>
                  </a:cubicBezTo>
                  <a:cubicBezTo>
                    <a:pt x="1955" y="1182"/>
                    <a:pt x="1994" y="1187"/>
                    <a:pt x="2023" y="1165"/>
                  </a:cubicBezTo>
                  <a:cubicBezTo>
                    <a:pt x="2074" y="1125"/>
                    <a:pt x="2068" y="1040"/>
                    <a:pt x="2097" y="983"/>
                  </a:cubicBezTo>
                  <a:cubicBezTo>
                    <a:pt x="2108" y="960"/>
                    <a:pt x="2136" y="954"/>
                    <a:pt x="2159" y="949"/>
                  </a:cubicBezTo>
                  <a:cubicBezTo>
                    <a:pt x="2205" y="937"/>
                    <a:pt x="2199" y="920"/>
                    <a:pt x="2216" y="881"/>
                  </a:cubicBezTo>
                  <a:cubicBezTo>
                    <a:pt x="2273" y="812"/>
                    <a:pt x="2341" y="756"/>
                    <a:pt x="2375" y="670"/>
                  </a:cubicBezTo>
                  <a:cubicBezTo>
                    <a:pt x="2409" y="579"/>
                    <a:pt x="2460" y="517"/>
                    <a:pt x="2500" y="432"/>
                  </a:cubicBezTo>
                  <a:lnTo>
                    <a:pt x="2500" y="432"/>
                  </a:lnTo>
                  <a:cubicBezTo>
                    <a:pt x="2432" y="403"/>
                    <a:pt x="2432" y="403"/>
                    <a:pt x="2432" y="403"/>
                  </a:cubicBezTo>
                  <a:cubicBezTo>
                    <a:pt x="2398" y="386"/>
                    <a:pt x="2415" y="386"/>
                    <a:pt x="2409" y="352"/>
                  </a:cubicBezTo>
                  <a:cubicBezTo>
                    <a:pt x="2409" y="341"/>
                    <a:pt x="2386" y="307"/>
                    <a:pt x="2381" y="301"/>
                  </a:cubicBezTo>
                  <a:cubicBezTo>
                    <a:pt x="2358" y="278"/>
                    <a:pt x="2301" y="301"/>
                    <a:pt x="2273" y="284"/>
                  </a:cubicBezTo>
                  <a:cubicBezTo>
                    <a:pt x="2239" y="267"/>
                    <a:pt x="2222" y="261"/>
                    <a:pt x="2210" y="222"/>
                  </a:cubicBezTo>
                  <a:cubicBezTo>
                    <a:pt x="2205" y="199"/>
                    <a:pt x="2261" y="142"/>
                    <a:pt x="2199" y="142"/>
                  </a:cubicBezTo>
                  <a:cubicBezTo>
                    <a:pt x="2176" y="142"/>
                    <a:pt x="2165" y="148"/>
                    <a:pt x="2165" y="119"/>
                  </a:cubicBezTo>
                  <a:cubicBezTo>
                    <a:pt x="2165" y="79"/>
                    <a:pt x="2136" y="114"/>
                    <a:pt x="2119" y="102"/>
                  </a:cubicBezTo>
                  <a:cubicBezTo>
                    <a:pt x="2085" y="97"/>
                    <a:pt x="2085" y="97"/>
                    <a:pt x="2085" y="97"/>
                  </a:cubicBezTo>
                  <a:lnTo>
                    <a:pt x="2085" y="97"/>
                  </a:lnTo>
                  <a:cubicBezTo>
                    <a:pt x="2063" y="108"/>
                    <a:pt x="2063" y="108"/>
                    <a:pt x="2063" y="108"/>
                  </a:cubicBezTo>
                  <a:cubicBezTo>
                    <a:pt x="2051" y="114"/>
                    <a:pt x="2040" y="119"/>
                    <a:pt x="2028" y="114"/>
                  </a:cubicBezTo>
                  <a:cubicBezTo>
                    <a:pt x="2017" y="108"/>
                    <a:pt x="2017" y="102"/>
                    <a:pt x="2006" y="102"/>
                  </a:cubicBezTo>
                  <a:cubicBezTo>
                    <a:pt x="1983" y="108"/>
                    <a:pt x="1966" y="131"/>
                    <a:pt x="1943" y="142"/>
                  </a:cubicBezTo>
                  <a:cubicBezTo>
                    <a:pt x="1943" y="153"/>
                    <a:pt x="1932" y="153"/>
                    <a:pt x="1926" y="153"/>
                  </a:cubicBezTo>
                  <a:cubicBezTo>
                    <a:pt x="1892" y="108"/>
                    <a:pt x="1909" y="97"/>
                    <a:pt x="1835" y="97"/>
                  </a:cubicBezTo>
                  <a:cubicBezTo>
                    <a:pt x="1795" y="97"/>
                    <a:pt x="1722" y="68"/>
                    <a:pt x="1705" y="28"/>
                  </a:cubicBezTo>
                  <a:cubicBezTo>
                    <a:pt x="1699" y="23"/>
                    <a:pt x="1699" y="0"/>
                    <a:pt x="1687" y="0"/>
                  </a:cubicBezTo>
                  <a:cubicBezTo>
                    <a:pt x="1648" y="0"/>
                    <a:pt x="1619" y="23"/>
                    <a:pt x="1608" y="63"/>
                  </a:cubicBezTo>
                  <a:cubicBezTo>
                    <a:pt x="1585" y="119"/>
                    <a:pt x="1597" y="153"/>
                    <a:pt x="1528" y="187"/>
                  </a:cubicBezTo>
                  <a:cubicBezTo>
                    <a:pt x="1483" y="210"/>
                    <a:pt x="1494" y="193"/>
                    <a:pt x="1455" y="182"/>
                  </a:cubicBezTo>
                  <a:cubicBezTo>
                    <a:pt x="1404" y="165"/>
                    <a:pt x="1426" y="227"/>
                    <a:pt x="1415" y="250"/>
                  </a:cubicBezTo>
                  <a:cubicBezTo>
                    <a:pt x="1398" y="284"/>
                    <a:pt x="1483" y="290"/>
                    <a:pt x="1500" y="290"/>
                  </a:cubicBezTo>
                  <a:lnTo>
                    <a:pt x="1517" y="284"/>
                  </a:lnTo>
                  <a:cubicBezTo>
                    <a:pt x="1528" y="284"/>
                    <a:pt x="1517" y="341"/>
                    <a:pt x="1517" y="347"/>
                  </a:cubicBezTo>
                  <a:cubicBezTo>
                    <a:pt x="1517" y="364"/>
                    <a:pt x="1511" y="443"/>
                    <a:pt x="1517" y="449"/>
                  </a:cubicBezTo>
                  <a:cubicBezTo>
                    <a:pt x="1540" y="455"/>
                    <a:pt x="1557" y="489"/>
                    <a:pt x="1534" y="506"/>
                  </a:cubicBezTo>
                  <a:cubicBezTo>
                    <a:pt x="1517" y="523"/>
                    <a:pt x="1489" y="517"/>
                    <a:pt x="1477" y="528"/>
                  </a:cubicBezTo>
                  <a:cubicBezTo>
                    <a:pt x="1449" y="557"/>
                    <a:pt x="1472" y="574"/>
                    <a:pt x="1483" y="597"/>
                  </a:cubicBezTo>
                  <a:cubicBezTo>
                    <a:pt x="1489" y="614"/>
                    <a:pt x="1540" y="659"/>
                    <a:pt x="1534" y="670"/>
                  </a:cubicBezTo>
                  <a:cubicBezTo>
                    <a:pt x="1534" y="676"/>
                    <a:pt x="1494" y="699"/>
                    <a:pt x="1483" y="704"/>
                  </a:cubicBezTo>
                  <a:cubicBezTo>
                    <a:pt x="1455" y="733"/>
                    <a:pt x="1449" y="761"/>
                    <a:pt x="1409" y="773"/>
                  </a:cubicBezTo>
                  <a:cubicBezTo>
                    <a:pt x="1381" y="784"/>
                    <a:pt x="1409" y="818"/>
                    <a:pt x="1409" y="835"/>
                  </a:cubicBezTo>
                  <a:cubicBezTo>
                    <a:pt x="1409" y="875"/>
                    <a:pt x="1284" y="903"/>
                    <a:pt x="1256" y="892"/>
                  </a:cubicBezTo>
                  <a:cubicBezTo>
                    <a:pt x="1244" y="886"/>
                    <a:pt x="1227" y="869"/>
                    <a:pt x="1216" y="869"/>
                  </a:cubicBezTo>
                  <a:cubicBezTo>
                    <a:pt x="1199" y="903"/>
                    <a:pt x="1193" y="949"/>
                    <a:pt x="1182" y="988"/>
                  </a:cubicBezTo>
                  <a:cubicBezTo>
                    <a:pt x="1171" y="1040"/>
                    <a:pt x="1148" y="1051"/>
                    <a:pt x="1119" y="1091"/>
                  </a:cubicBezTo>
                  <a:cubicBezTo>
                    <a:pt x="1102" y="1119"/>
                    <a:pt x="1125" y="1136"/>
                    <a:pt x="1125" y="1159"/>
                  </a:cubicBezTo>
                  <a:cubicBezTo>
                    <a:pt x="1114" y="1159"/>
                    <a:pt x="1102" y="1159"/>
                    <a:pt x="1085" y="1159"/>
                  </a:cubicBezTo>
                  <a:cubicBezTo>
                    <a:pt x="1040" y="1222"/>
                    <a:pt x="977" y="1182"/>
                    <a:pt x="943" y="1238"/>
                  </a:cubicBezTo>
                  <a:cubicBezTo>
                    <a:pt x="915" y="1284"/>
                    <a:pt x="852" y="1290"/>
                    <a:pt x="847" y="1324"/>
                  </a:cubicBezTo>
                  <a:cubicBezTo>
                    <a:pt x="841" y="1352"/>
                    <a:pt x="852" y="1409"/>
                    <a:pt x="869" y="1426"/>
                  </a:cubicBezTo>
                  <a:cubicBezTo>
                    <a:pt x="875" y="1432"/>
                    <a:pt x="904" y="1454"/>
                    <a:pt x="898" y="1460"/>
                  </a:cubicBezTo>
                  <a:cubicBezTo>
                    <a:pt x="898" y="1460"/>
                    <a:pt x="904" y="1460"/>
                    <a:pt x="898" y="1460"/>
                  </a:cubicBezTo>
                  <a:cubicBezTo>
                    <a:pt x="898" y="1466"/>
                    <a:pt x="858" y="1477"/>
                    <a:pt x="852" y="1483"/>
                  </a:cubicBezTo>
                  <a:cubicBezTo>
                    <a:pt x="841" y="1494"/>
                    <a:pt x="818" y="1517"/>
                    <a:pt x="801" y="1517"/>
                  </a:cubicBezTo>
                  <a:cubicBezTo>
                    <a:pt x="801" y="1506"/>
                    <a:pt x="773" y="1483"/>
                    <a:pt x="762" y="1472"/>
                  </a:cubicBezTo>
                  <a:cubicBezTo>
                    <a:pt x="756" y="1460"/>
                    <a:pt x="773" y="1432"/>
                    <a:pt x="762" y="1420"/>
                  </a:cubicBezTo>
                  <a:cubicBezTo>
                    <a:pt x="762" y="1398"/>
                    <a:pt x="773" y="1364"/>
                    <a:pt x="750" y="1341"/>
                  </a:cubicBezTo>
                  <a:cubicBezTo>
                    <a:pt x="733" y="1324"/>
                    <a:pt x="676" y="1324"/>
                    <a:pt x="671" y="1301"/>
                  </a:cubicBezTo>
                  <a:cubicBezTo>
                    <a:pt x="642" y="1295"/>
                    <a:pt x="625" y="1312"/>
                    <a:pt x="591" y="1307"/>
                  </a:cubicBezTo>
                  <a:cubicBezTo>
                    <a:pt x="585" y="1284"/>
                    <a:pt x="540" y="1312"/>
                    <a:pt x="528" y="1318"/>
                  </a:cubicBezTo>
                  <a:cubicBezTo>
                    <a:pt x="477" y="1312"/>
                    <a:pt x="477" y="1312"/>
                    <a:pt x="477" y="1312"/>
                  </a:cubicBezTo>
                  <a:lnTo>
                    <a:pt x="477" y="1312"/>
                  </a:lnTo>
                  <a:cubicBezTo>
                    <a:pt x="460" y="1341"/>
                    <a:pt x="398" y="1335"/>
                    <a:pt x="392" y="1369"/>
                  </a:cubicBezTo>
                  <a:cubicBezTo>
                    <a:pt x="392" y="1381"/>
                    <a:pt x="398" y="1392"/>
                    <a:pt x="404" y="1403"/>
                  </a:cubicBezTo>
                  <a:cubicBezTo>
                    <a:pt x="426" y="1454"/>
                    <a:pt x="392" y="1506"/>
                    <a:pt x="392" y="1551"/>
                  </a:cubicBezTo>
                  <a:cubicBezTo>
                    <a:pt x="392" y="1602"/>
                    <a:pt x="318" y="1642"/>
                    <a:pt x="318" y="1693"/>
                  </a:cubicBezTo>
                  <a:cubicBezTo>
                    <a:pt x="341" y="1761"/>
                    <a:pt x="307" y="1818"/>
                    <a:pt x="233" y="1778"/>
                  </a:cubicBezTo>
                  <a:cubicBezTo>
                    <a:pt x="148" y="1727"/>
                    <a:pt x="125" y="1932"/>
                    <a:pt x="63" y="1960"/>
                  </a:cubicBezTo>
                  <a:cubicBezTo>
                    <a:pt x="23" y="1977"/>
                    <a:pt x="40" y="2044"/>
                    <a:pt x="28" y="2078"/>
                  </a:cubicBezTo>
                  <a:cubicBezTo>
                    <a:pt x="0" y="2164"/>
                    <a:pt x="17" y="2158"/>
                    <a:pt x="85" y="2215"/>
                  </a:cubicBezTo>
                  <a:cubicBezTo>
                    <a:pt x="102" y="2260"/>
                    <a:pt x="97" y="2254"/>
                    <a:pt x="142" y="2254"/>
                  </a:cubicBezTo>
                  <a:cubicBezTo>
                    <a:pt x="154" y="2260"/>
                    <a:pt x="182" y="2294"/>
                    <a:pt x="199" y="2306"/>
                  </a:cubicBezTo>
                  <a:cubicBezTo>
                    <a:pt x="233" y="2317"/>
                    <a:pt x="267" y="2317"/>
                    <a:pt x="296" y="2323"/>
                  </a:cubicBezTo>
                  <a:cubicBezTo>
                    <a:pt x="347" y="2340"/>
                    <a:pt x="381" y="2351"/>
                    <a:pt x="432" y="2357"/>
                  </a:cubicBezTo>
                  <a:cubicBezTo>
                    <a:pt x="472" y="2357"/>
                    <a:pt x="421" y="2521"/>
                    <a:pt x="421" y="2550"/>
                  </a:cubicBezTo>
                  <a:cubicBezTo>
                    <a:pt x="421" y="2590"/>
                    <a:pt x="375" y="2607"/>
                    <a:pt x="369" y="2641"/>
                  </a:cubicBezTo>
                  <a:cubicBezTo>
                    <a:pt x="364" y="2652"/>
                    <a:pt x="358" y="2675"/>
                    <a:pt x="347" y="2681"/>
                  </a:cubicBezTo>
                  <a:cubicBezTo>
                    <a:pt x="335" y="2698"/>
                    <a:pt x="335" y="2720"/>
                    <a:pt x="330" y="2737"/>
                  </a:cubicBezTo>
                  <a:cubicBezTo>
                    <a:pt x="341" y="2771"/>
                    <a:pt x="324" y="2789"/>
                    <a:pt x="364" y="2805"/>
                  </a:cubicBezTo>
                  <a:cubicBezTo>
                    <a:pt x="404" y="2823"/>
                    <a:pt x="421" y="2879"/>
                    <a:pt x="449" y="2913"/>
                  </a:cubicBezTo>
                  <a:cubicBezTo>
                    <a:pt x="483" y="2965"/>
                    <a:pt x="472" y="2953"/>
                    <a:pt x="534" y="2959"/>
                  </a:cubicBezTo>
                  <a:cubicBezTo>
                    <a:pt x="557" y="2965"/>
                    <a:pt x="608" y="2959"/>
                    <a:pt x="625" y="2948"/>
                  </a:cubicBezTo>
                  <a:cubicBezTo>
                    <a:pt x="642" y="2936"/>
                    <a:pt x="699" y="2919"/>
                    <a:pt x="699" y="2953"/>
                  </a:cubicBezTo>
                  <a:cubicBezTo>
                    <a:pt x="705" y="2993"/>
                    <a:pt x="739" y="3010"/>
                    <a:pt x="739" y="3061"/>
                  </a:cubicBezTo>
                  <a:cubicBezTo>
                    <a:pt x="739" y="3078"/>
                    <a:pt x="739" y="3101"/>
                    <a:pt x="739" y="3118"/>
                  </a:cubicBezTo>
                  <a:cubicBezTo>
                    <a:pt x="744" y="3146"/>
                    <a:pt x="767" y="3181"/>
                    <a:pt x="727" y="3192"/>
                  </a:cubicBezTo>
                  <a:cubicBezTo>
                    <a:pt x="693" y="3198"/>
                    <a:pt x="705" y="3215"/>
                    <a:pt x="716" y="3237"/>
                  </a:cubicBezTo>
                  <a:cubicBezTo>
                    <a:pt x="739" y="3266"/>
                    <a:pt x="767" y="3408"/>
                    <a:pt x="688" y="3391"/>
                  </a:cubicBezTo>
                  <a:cubicBezTo>
                    <a:pt x="642" y="3396"/>
                    <a:pt x="642" y="3396"/>
                    <a:pt x="642" y="3396"/>
                  </a:cubicBezTo>
                  <a:lnTo>
                    <a:pt x="642" y="3396"/>
                  </a:lnTo>
                  <a:cubicBezTo>
                    <a:pt x="642" y="3425"/>
                    <a:pt x="642" y="3425"/>
                    <a:pt x="642" y="3425"/>
                  </a:cubicBezTo>
                  <a:cubicBezTo>
                    <a:pt x="636" y="3430"/>
                    <a:pt x="636" y="3436"/>
                    <a:pt x="636" y="3448"/>
                  </a:cubicBezTo>
                  <a:cubicBezTo>
                    <a:pt x="636" y="3459"/>
                    <a:pt x="642" y="3470"/>
                    <a:pt x="642" y="3482"/>
                  </a:cubicBezTo>
                  <a:cubicBezTo>
                    <a:pt x="648" y="3504"/>
                    <a:pt x="654" y="3544"/>
                    <a:pt x="636" y="3561"/>
                  </a:cubicBezTo>
                  <a:cubicBezTo>
                    <a:pt x="631" y="3590"/>
                    <a:pt x="625" y="3607"/>
                    <a:pt x="631" y="3635"/>
                  </a:cubicBezTo>
                  <a:cubicBezTo>
                    <a:pt x="642" y="3658"/>
                    <a:pt x="597" y="3692"/>
                    <a:pt x="580" y="3703"/>
                  </a:cubicBezTo>
                  <a:cubicBezTo>
                    <a:pt x="540" y="3732"/>
                    <a:pt x="517" y="3868"/>
                    <a:pt x="563" y="3879"/>
                  </a:cubicBezTo>
                  <a:cubicBezTo>
                    <a:pt x="608" y="3891"/>
                    <a:pt x="636" y="3885"/>
                    <a:pt x="665" y="3930"/>
                  </a:cubicBezTo>
                  <a:cubicBezTo>
                    <a:pt x="727" y="4055"/>
                    <a:pt x="608" y="4152"/>
                    <a:pt x="608" y="4260"/>
                  </a:cubicBezTo>
                  <a:cubicBezTo>
                    <a:pt x="608" y="4305"/>
                    <a:pt x="654" y="4334"/>
                    <a:pt x="676" y="4373"/>
                  </a:cubicBezTo>
                  <a:cubicBezTo>
                    <a:pt x="722" y="4447"/>
                    <a:pt x="762" y="4550"/>
                    <a:pt x="830" y="4607"/>
                  </a:cubicBezTo>
                  <a:cubicBezTo>
                    <a:pt x="869" y="4641"/>
                    <a:pt x="904" y="4652"/>
                    <a:pt x="949" y="4675"/>
                  </a:cubicBezTo>
                  <a:close/>
                  <a:moveTo>
                    <a:pt x="108" y="1040"/>
                  </a:moveTo>
                  <a:lnTo>
                    <a:pt x="108" y="1040"/>
                  </a:lnTo>
                  <a:cubicBezTo>
                    <a:pt x="188" y="1051"/>
                    <a:pt x="188" y="1051"/>
                    <a:pt x="188" y="1051"/>
                  </a:cubicBezTo>
                  <a:cubicBezTo>
                    <a:pt x="307" y="1079"/>
                    <a:pt x="210" y="949"/>
                    <a:pt x="290" y="926"/>
                  </a:cubicBezTo>
                  <a:cubicBezTo>
                    <a:pt x="296" y="926"/>
                    <a:pt x="296" y="926"/>
                    <a:pt x="296" y="926"/>
                  </a:cubicBezTo>
                  <a:cubicBezTo>
                    <a:pt x="296" y="954"/>
                    <a:pt x="296" y="972"/>
                    <a:pt x="313" y="988"/>
                  </a:cubicBezTo>
                  <a:cubicBezTo>
                    <a:pt x="324" y="1006"/>
                    <a:pt x="341" y="1011"/>
                    <a:pt x="347" y="1028"/>
                  </a:cubicBezTo>
                  <a:cubicBezTo>
                    <a:pt x="364" y="1074"/>
                    <a:pt x="358" y="1091"/>
                    <a:pt x="421" y="1079"/>
                  </a:cubicBezTo>
                  <a:cubicBezTo>
                    <a:pt x="466" y="1074"/>
                    <a:pt x="540" y="1125"/>
                    <a:pt x="557" y="1165"/>
                  </a:cubicBezTo>
                  <a:cubicBezTo>
                    <a:pt x="580" y="1210"/>
                    <a:pt x="489" y="1244"/>
                    <a:pt x="455" y="1256"/>
                  </a:cubicBezTo>
                  <a:lnTo>
                    <a:pt x="455" y="1256"/>
                  </a:lnTo>
                  <a:cubicBezTo>
                    <a:pt x="398" y="1267"/>
                    <a:pt x="398" y="1267"/>
                    <a:pt x="398" y="1267"/>
                  </a:cubicBezTo>
                  <a:cubicBezTo>
                    <a:pt x="358" y="1278"/>
                    <a:pt x="330" y="1278"/>
                    <a:pt x="296" y="1261"/>
                  </a:cubicBezTo>
                  <a:cubicBezTo>
                    <a:pt x="262" y="1250"/>
                    <a:pt x="216" y="1256"/>
                    <a:pt x="193" y="1238"/>
                  </a:cubicBezTo>
                  <a:cubicBezTo>
                    <a:pt x="176" y="1227"/>
                    <a:pt x="182" y="1199"/>
                    <a:pt x="176" y="1182"/>
                  </a:cubicBezTo>
                  <a:cubicBezTo>
                    <a:pt x="171" y="1159"/>
                    <a:pt x="131" y="1131"/>
                    <a:pt x="131" y="1108"/>
                  </a:cubicBezTo>
                  <a:cubicBezTo>
                    <a:pt x="131" y="1096"/>
                    <a:pt x="131" y="1091"/>
                    <a:pt x="119" y="1085"/>
                  </a:cubicBezTo>
                  <a:cubicBezTo>
                    <a:pt x="97" y="1068"/>
                    <a:pt x="97" y="1057"/>
                    <a:pt x="108" y="104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0" name="Freeform 161"/>
            <p:cNvSpPr>
              <a:spLocks noChangeArrowheads="1"/>
            </p:cNvSpPr>
            <p:nvPr/>
          </p:nvSpPr>
          <p:spPr bwMode="auto">
            <a:xfrm>
              <a:off x="13228745" y="6771267"/>
              <a:ext cx="2452383" cy="2806392"/>
            </a:xfrm>
            <a:custGeom>
              <a:avLst/>
              <a:gdLst>
                <a:gd name="T0" fmla="*/ 2653 w 3546"/>
                <a:gd name="T1" fmla="*/ 710 h 4057"/>
                <a:gd name="T2" fmla="*/ 2658 w 3546"/>
                <a:gd name="T3" fmla="*/ 994 h 4057"/>
                <a:gd name="T4" fmla="*/ 2755 w 3546"/>
                <a:gd name="T5" fmla="*/ 1193 h 4057"/>
                <a:gd name="T6" fmla="*/ 2903 w 3546"/>
                <a:gd name="T7" fmla="*/ 1125 h 4057"/>
                <a:gd name="T8" fmla="*/ 2914 w 3546"/>
                <a:gd name="T9" fmla="*/ 1347 h 4057"/>
                <a:gd name="T10" fmla="*/ 3062 w 3546"/>
                <a:gd name="T11" fmla="*/ 1647 h 4057"/>
                <a:gd name="T12" fmla="*/ 3477 w 3546"/>
                <a:gd name="T13" fmla="*/ 1681 h 4057"/>
                <a:gd name="T14" fmla="*/ 3397 w 3546"/>
                <a:gd name="T15" fmla="*/ 1891 h 4057"/>
                <a:gd name="T16" fmla="*/ 3397 w 3546"/>
                <a:gd name="T17" fmla="*/ 2101 h 4057"/>
                <a:gd name="T18" fmla="*/ 3295 w 3546"/>
                <a:gd name="T19" fmla="*/ 2334 h 4057"/>
                <a:gd name="T20" fmla="*/ 3272 w 3546"/>
                <a:gd name="T21" fmla="*/ 2476 h 4057"/>
                <a:gd name="T22" fmla="*/ 3158 w 3546"/>
                <a:gd name="T23" fmla="*/ 2703 h 4057"/>
                <a:gd name="T24" fmla="*/ 3039 w 3546"/>
                <a:gd name="T25" fmla="*/ 2828 h 4057"/>
                <a:gd name="T26" fmla="*/ 2766 w 3546"/>
                <a:gd name="T27" fmla="*/ 2999 h 4057"/>
                <a:gd name="T28" fmla="*/ 2431 w 3546"/>
                <a:gd name="T29" fmla="*/ 3266 h 4057"/>
                <a:gd name="T30" fmla="*/ 2437 w 3546"/>
                <a:gd name="T31" fmla="*/ 3493 h 4057"/>
                <a:gd name="T32" fmla="*/ 2392 w 3546"/>
                <a:gd name="T33" fmla="*/ 3754 h 4057"/>
                <a:gd name="T34" fmla="*/ 2159 w 3546"/>
                <a:gd name="T35" fmla="*/ 3681 h 4057"/>
                <a:gd name="T36" fmla="*/ 1903 w 3546"/>
                <a:gd name="T37" fmla="*/ 3965 h 4057"/>
                <a:gd name="T38" fmla="*/ 1568 w 3546"/>
                <a:gd name="T39" fmla="*/ 4010 h 4057"/>
                <a:gd name="T40" fmla="*/ 1323 w 3546"/>
                <a:gd name="T41" fmla="*/ 3897 h 4057"/>
                <a:gd name="T42" fmla="*/ 1107 w 3546"/>
                <a:gd name="T43" fmla="*/ 3806 h 4057"/>
                <a:gd name="T44" fmla="*/ 880 w 3546"/>
                <a:gd name="T45" fmla="*/ 3686 h 4057"/>
                <a:gd name="T46" fmla="*/ 687 w 3546"/>
                <a:gd name="T47" fmla="*/ 3635 h 4057"/>
                <a:gd name="T48" fmla="*/ 420 w 3546"/>
                <a:gd name="T49" fmla="*/ 3459 h 4057"/>
                <a:gd name="T50" fmla="*/ 289 w 3546"/>
                <a:gd name="T51" fmla="*/ 3289 h 4057"/>
                <a:gd name="T52" fmla="*/ 272 w 3546"/>
                <a:gd name="T53" fmla="*/ 3152 h 4057"/>
                <a:gd name="T54" fmla="*/ 329 w 3546"/>
                <a:gd name="T55" fmla="*/ 2970 h 4057"/>
                <a:gd name="T56" fmla="*/ 414 w 3546"/>
                <a:gd name="T57" fmla="*/ 2766 h 4057"/>
                <a:gd name="T58" fmla="*/ 608 w 3546"/>
                <a:gd name="T59" fmla="*/ 2556 h 4057"/>
                <a:gd name="T60" fmla="*/ 710 w 3546"/>
                <a:gd name="T61" fmla="*/ 2345 h 4057"/>
                <a:gd name="T62" fmla="*/ 483 w 3546"/>
                <a:gd name="T63" fmla="*/ 2209 h 4057"/>
                <a:gd name="T64" fmla="*/ 335 w 3546"/>
                <a:gd name="T65" fmla="*/ 1925 h 4057"/>
                <a:gd name="T66" fmla="*/ 284 w 3546"/>
                <a:gd name="T67" fmla="*/ 1664 h 4057"/>
                <a:gd name="T68" fmla="*/ 62 w 3546"/>
                <a:gd name="T69" fmla="*/ 1472 h 4057"/>
                <a:gd name="T70" fmla="*/ 113 w 3546"/>
                <a:gd name="T71" fmla="*/ 1352 h 4057"/>
                <a:gd name="T72" fmla="*/ 460 w 3546"/>
                <a:gd name="T73" fmla="*/ 1364 h 4057"/>
                <a:gd name="T74" fmla="*/ 647 w 3546"/>
                <a:gd name="T75" fmla="*/ 1301 h 4057"/>
                <a:gd name="T76" fmla="*/ 698 w 3546"/>
                <a:gd name="T77" fmla="*/ 1085 h 4057"/>
                <a:gd name="T78" fmla="*/ 784 w 3546"/>
                <a:gd name="T79" fmla="*/ 710 h 4057"/>
                <a:gd name="T80" fmla="*/ 630 w 3546"/>
                <a:gd name="T81" fmla="*/ 477 h 4057"/>
                <a:gd name="T82" fmla="*/ 812 w 3546"/>
                <a:gd name="T83" fmla="*/ 381 h 4057"/>
                <a:gd name="T84" fmla="*/ 1011 w 3546"/>
                <a:gd name="T85" fmla="*/ 375 h 4057"/>
                <a:gd name="T86" fmla="*/ 1249 w 3546"/>
                <a:gd name="T87" fmla="*/ 244 h 4057"/>
                <a:gd name="T88" fmla="*/ 1483 w 3546"/>
                <a:gd name="T89" fmla="*/ 97 h 4057"/>
                <a:gd name="T90" fmla="*/ 1744 w 3546"/>
                <a:gd name="T91" fmla="*/ 142 h 4057"/>
                <a:gd name="T92" fmla="*/ 2005 w 3546"/>
                <a:gd name="T93" fmla="*/ 324 h 4057"/>
                <a:gd name="T94" fmla="*/ 2136 w 3546"/>
                <a:gd name="T95" fmla="*/ 307 h 4057"/>
                <a:gd name="T96" fmla="*/ 2374 w 3546"/>
                <a:gd name="T97" fmla="*/ 460 h 4057"/>
                <a:gd name="T98" fmla="*/ 2624 w 3546"/>
                <a:gd name="T99" fmla="*/ 404 h 4057"/>
                <a:gd name="T100" fmla="*/ 2670 w 3546"/>
                <a:gd name="T101" fmla="*/ 574 h 4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46" h="4057">
                  <a:moveTo>
                    <a:pt x="2698" y="625"/>
                  </a:moveTo>
                  <a:lnTo>
                    <a:pt x="2698" y="625"/>
                  </a:lnTo>
                  <a:cubicBezTo>
                    <a:pt x="2658" y="648"/>
                    <a:pt x="2658" y="648"/>
                    <a:pt x="2658" y="648"/>
                  </a:cubicBezTo>
                  <a:cubicBezTo>
                    <a:pt x="2664" y="665"/>
                    <a:pt x="2653" y="693"/>
                    <a:pt x="2653" y="710"/>
                  </a:cubicBezTo>
                  <a:cubicBezTo>
                    <a:pt x="2653" y="750"/>
                    <a:pt x="2664" y="778"/>
                    <a:pt x="2658" y="813"/>
                  </a:cubicBezTo>
                  <a:cubicBezTo>
                    <a:pt x="2653" y="852"/>
                    <a:pt x="2642" y="886"/>
                    <a:pt x="2630" y="921"/>
                  </a:cubicBezTo>
                  <a:cubicBezTo>
                    <a:pt x="2624" y="932"/>
                    <a:pt x="2602" y="1000"/>
                    <a:pt x="2619" y="1006"/>
                  </a:cubicBezTo>
                  <a:cubicBezTo>
                    <a:pt x="2630" y="1006"/>
                    <a:pt x="2642" y="1000"/>
                    <a:pt x="2658" y="994"/>
                  </a:cubicBezTo>
                  <a:cubicBezTo>
                    <a:pt x="2676" y="989"/>
                    <a:pt x="2704" y="983"/>
                    <a:pt x="2721" y="994"/>
                  </a:cubicBezTo>
                  <a:cubicBezTo>
                    <a:pt x="2744" y="1006"/>
                    <a:pt x="2727" y="1108"/>
                    <a:pt x="2721" y="1131"/>
                  </a:cubicBezTo>
                  <a:cubicBezTo>
                    <a:pt x="2715" y="1165"/>
                    <a:pt x="2715" y="1165"/>
                    <a:pt x="2715" y="1165"/>
                  </a:cubicBezTo>
                  <a:cubicBezTo>
                    <a:pt x="2755" y="1193"/>
                    <a:pt x="2755" y="1193"/>
                    <a:pt x="2755" y="1193"/>
                  </a:cubicBezTo>
                  <a:cubicBezTo>
                    <a:pt x="2795" y="1187"/>
                    <a:pt x="2795" y="1187"/>
                    <a:pt x="2795" y="1187"/>
                  </a:cubicBezTo>
                  <a:cubicBezTo>
                    <a:pt x="2835" y="1159"/>
                    <a:pt x="2835" y="1159"/>
                    <a:pt x="2835" y="1159"/>
                  </a:cubicBezTo>
                  <a:cubicBezTo>
                    <a:pt x="2874" y="1131"/>
                    <a:pt x="2874" y="1131"/>
                    <a:pt x="2874" y="1131"/>
                  </a:cubicBezTo>
                  <a:cubicBezTo>
                    <a:pt x="2903" y="1125"/>
                    <a:pt x="2903" y="1125"/>
                    <a:pt x="2903" y="1125"/>
                  </a:cubicBezTo>
                  <a:cubicBezTo>
                    <a:pt x="2908" y="1176"/>
                    <a:pt x="2908" y="1176"/>
                    <a:pt x="2908" y="1176"/>
                  </a:cubicBezTo>
                  <a:cubicBezTo>
                    <a:pt x="2908" y="1187"/>
                    <a:pt x="2908" y="1187"/>
                    <a:pt x="2908" y="1187"/>
                  </a:cubicBezTo>
                  <a:cubicBezTo>
                    <a:pt x="2886" y="1193"/>
                    <a:pt x="2926" y="1227"/>
                    <a:pt x="2931" y="1233"/>
                  </a:cubicBezTo>
                  <a:cubicBezTo>
                    <a:pt x="2943" y="1256"/>
                    <a:pt x="2920" y="1324"/>
                    <a:pt x="2914" y="1347"/>
                  </a:cubicBezTo>
                  <a:cubicBezTo>
                    <a:pt x="2914" y="1375"/>
                    <a:pt x="2892" y="1415"/>
                    <a:pt x="2874" y="1437"/>
                  </a:cubicBezTo>
                  <a:cubicBezTo>
                    <a:pt x="2840" y="1472"/>
                    <a:pt x="2880" y="1460"/>
                    <a:pt x="2903" y="1494"/>
                  </a:cubicBezTo>
                  <a:cubicBezTo>
                    <a:pt x="2937" y="1527"/>
                    <a:pt x="2960" y="1590"/>
                    <a:pt x="3005" y="1618"/>
                  </a:cubicBezTo>
                  <a:cubicBezTo>
                    <a:pt x="3028" y="1630"/>
                    <a:pt x="3051" y="1624"/>
                    <a:pt x="3062" y="1647"/>
                  </a:cubicBezTo>
                  <a:cubicBezTo>
                    <a:pt x="3113" y="1726"/>
                    <a:pt x="3113" y="1726"/>
                    <a:pt x="3113" y="1726"/>
                  </a:cubicBezTo>
                  <a:cubicBezTo>
                    <a:pt x="3130" y="1755"/>
                    <a:pt x="3170" y="1760"/>
                    <a:pt x="3198" y="1777"/>
                  </a:cubicBezTo>
                  <a:cubicBezTo>
                    <a:pt x="3266" y="1823"/>
                    <a:pt x="3289" y="1777"/>
                    <a:pt x="3352" y="1772"/>
                  </a:cubicBezTo>
                  <a:cubicBezTo>
                    <a:pt x="3369" y="1766"/>
                    <a:pt x="3477" y="1698"/>
                    <a:pt x="3477" y="1681"/>
                  </a:cubicBezTo>
                  <a:cubicBezTo>
                    <a:pt x="3482" y="1681"/>
                    <a:pt x="3482" y="1681"/>
                    <a:pt x="3482" y="1681"/>
                  </a:cubicBezTo>
                  <a:cubicBezTo>
                    <a:pt x="3482" y="1686"/>
                    <a:pt x="3505" y="1704"/>
                    <a:pt x="3505" y="1726"/>
                  </a:cubicBezTo>
                  <a:cubicBezTo>
                    <a:pt x="3505" y="1772"/>
                    <a:pt x="3482" y="1789"/>
                    <a:pt x="3471" y="1829"/>
                  </a:cubicBezTo>
                  <a:cubicBezTo>
                    <a:pt x="3460" y="1874"/>
                    <a:pt x="3448" y="1891"/>
                    <a:pt x="3397" y="1891"/>
                  </a:cubicBezTo>
                  <a:cubicBezTo>
                    <a:pt x="3397" y="1902"/>
                    <a:pt x="3420" y="1942"/>
                    <a:pt x="3426" y="1965"/>
                  </a:cubicBezTo>
                  <a:cubicBezTo>
                    <a:pt x="3443" y="2016"/>
                    <a:pt x="3471" y="2022"/>
                    <a:pt x="3499" y="2061"/>
                  </a:cubicBezTo>
                  <a:cubicBezTo>
                    <a:pt x="3505" y="2073"/>
                    <a:pt x="3545" y="2124"/>
                    <a:pt x="3539" y="2130"/>
                  </a:cubicBezTo>
                  <a:cubicBezTo>
                    <a:pt x="3534" y="2130"/>
                    <a:pt x="3426" y="2101"/>
                    <a:pt x="3397" y="2101"/>
                  </a:cubicBezTo>
                  <a:cubicBezTo>
                    <a:pt x="3380" y="2101"/>
                    <a:pt x="3335" y="2079"/>
                    <a:pt x="3323" y="2095"/>
                  </a:cubicBezTo>
                  <a:cubicBezTo>
                    <a:pt x="3312" y="2124"/>
                    <a:pt x="3318" y="2135"/>
                    <a:pt x="3289" y="2147"/>
                  </a:cubicBezTo>
                  <a:cubicBezTo>
                    <a:pt x="3284" y="2203"/>
                    <a:pt x="3238" y="2238"/>
                    <a:pt x="3301" y="2277"/>
                  </a:cubicBezTo>
                  <a:cubicBezTo>
                    <a:pt x="3318" y="2289"/>
                    <a:pt x="3318" y="2323"/>
                    <a:pt x="3295" y="2334"/>
                  </a:cubicBezTo>
                  <a:cubicBezTo>
                    <a:pt x="3278" y="2345"/>
                    <a:pt x="3221" y="2334"/>
                    <a:pt x="3215" y="2317"/>
                  </a:cubicBezTo>
                  <a:cubicBezTo>
                    <a:pt x="3198" y="2317"/>
                    <a:pt x="3181" y="2306"/>
                    <a:pt x="3158" y="2306"/>
                  </a:cubicBezTo>
                  <a:cubicBezTo>
                    <a:pt x="3158" y="2317"/>
                    <a:pt x="3176" y="2334"/>
                    <a:pt x="3181" y="2351"/>
                  </a:cubicBezTo>
                  <a:cubicBezTo>
                    <a:pt x="3210" y="2408"/>
                    <a:pt x="3193" y="2459"/>
                    <a:pt x="3272" y="2476"/>
                  </a:cubicBezTo>
                  <a:cubicBezTo>
                    <a:pt x="3346" y="2493"/>
                    <a:pt x="3312" y="2539"/>
                    <a:pt x="3289" y="2579"/>
                  </a:cubicBezTo>
                  <a:cubicBezTo>
                    <a:pt x="3278" y="2590"/>
                    <a:pt x="3266" y="2579"/>
                    <a:pt x="3255" y="2573"/>
                  </a:cubicBezTo>
                  <a:cubicBezTo>
                    <a:pt x="3238" y="2567"/>
                    <a:pt x="3204" y="2573"/>
                    <a:pt x="3193" y="2590"/>
                  </a:cubicBezTo>
                  <a:cubicBezTo>
                    <a:pt x="3176" y="2624"/>
                    <a:pt x="3158" y="2664"/>
                    <a:pt x="3158" y="2703"/>
                  </a:cubicBezTo>
                  <a:cubicBezTo>
                    <a:pt x="3158" y="2749"/>
                    <a:pt x="3158" y="2783"/>
                    <a:pt x="3119" y="2806"/>
                  </a:cubicBezTo>
                  <a:cubicBezTo>
                    <a:pt x="3090" y="2823"/>
                    <a:pt x="3090" y="2823"/>
                    <a:pt x="3090" y="2823"/>
                  </a:cubicBezTo>
                  <a:lnTo>
                    <a:pt x="3090" y="2823"/>
                  </a:lnTo>
                  <a:cubicBezTo>
                    <a:pt x="3039" y="2828"/>
                    <a:pt x="3039" y="2828"/>
                    <a:pt x="3039" y="2828"/>
                  </a:cubicBezTo>
                  <a:cubicBezTo>
                    <a:pt x="2977" y="2868"/>
                    <a:pt x="2988" y="2834"/>
                    <a:pt x="2937" y="2840"/>
                  </a:cubicBezTo>
                  <a:cubicBezTo>
                    <a:pt x="2880" y="2851"/>
                    <a:pt x="2892" y="2828"/>
                    <a:pt x="2892" y="2897"/>
                  </a:cubicBezTo>
                  <a:cubicBezTo>
                    <a:pt x="2892" y="2931"/>
                    <a:pt x="2863" y="2919"/>
                    <a:pt x="2846" y="2931"/>
                  </a:cubicBezTo>
                  <a:cubicBezTo>
                    <a:pt x="2818" y="2942"/>
                    <a:pt x="2795" y="2982"/>
                    <a:pt x="2766" y="2999"/>
                  </a:cubicBezTo>
                  <a:cubicBezTo>
                    <a:pt x="2721" y="3033"/>
                    <a:pt x="2727" y="3061"/>
                    <a:pt x="2670" y="3044"/>
                  </a:cubicBezTo>
                  <a:cubicBezTo>
                    <a:pt x="2647" y="3039"/>
                    <a:pt x="2596" y="3152"/>
                    <a:pt x="2568" y="3169"/>
                  </a:cubicBezTo>
                  <a:cubicBezTo>
                    <a:pt x="2534" y="3192"/>
                    <a:pt x="2539" y="3215"/>
                    <a:pt x="2516" y="3238"/>
                  </a:cubicBezTo>
                  <a:cubicBezTo>
                    <a:pt x="2494" y="3272"/>
                    <a:pt x="2460" y="3232"/>
                    <a:pt x="2431" y="3266"/>
                  </a:cubicBezTo>
                  <a:cubicBezTo>
                    <a:pt x="2414" y="3283"/>
                    <a:pt x="2397" y="3328"/>
                    <a:pt x="2397" y="3351"/>
                  </a:cubicBezTo>
                  <a:cubicBezTo>
                    <a:pt x="2397" y="3368"/>
                    <a:pt x="2414" y="3374"/>
                    <a:pt x="2414" y="3391"/>
                  </a:cubicBezTo>
                  <a:cubicBezTo>
                    <a:pt x="2420" y="3408"/>
                    <a:pt x="2397" y="3448"/>
                    <a:pt x="2414" y="3459"/>
                  </a:cubicBezTo>
                  <a:cubicBezTo>
                    <a:pt x="2426" y="3470"/>
                    <a:pt x="2437" y="3470"/>
                    <a:pt x="2437" y="3493"/>
                  </a:cubicBezTo>
                  <a:cubicBezTo>
                    <a:pt x="2437" y="3533"/>
                    <a:pt x="2471" y="3561"/>
                    <a:pt x="2471" y="3612"/>
                  </a:cubicBezTo>
                  <a:cubicBezTo>
                    <a:pt x="2465" y="3641"/>
                    <a:pt x="2443" y="3652"/>
                    <a:pt x="2443" y="3669"/>
                  </a:cubicBezTo>
                  <a:cubicBezTo>
                    <a:pt x="2443" y="3686"/>
                    <a:pt x="2448" y="3692"/>
                    <a:pt x="2443" y="3709"/>
                  </a:cubicBezTo>
                  <a:cubicBezTo>
                    <a:pt x="2437" y="3720"/>
                    <a:pt x="2403" y="3749"/>
                    <a:pt x="2392" y="3754"/>
                  </a:cubicBezTo>
                  <a:cubicBezTo>
                    <a:pt x="2374" y="3754"/>
                    <a:pt x="2363" y="3754"/>
                    <a:pt x="2346" y="3754"/>
                  </a:cubicBezTo>
                  <a:cubicBezTo>
                    <a:pt x="2312" y="3766"/>
                    <a:pt x="2261" y="3851"/>
                    <a:pt x="2227" y="3834"/>
                  </a:cubicBezTo>
                  <a:cubicBezTo>
                    <a:pt x="2210" y="3823"/>
                    <a:pt x="2181" y="3749"/>
                    <a:pt x="2210" y="3743"/>
                  </a:cubicBezTo>
                  <a:cubicBezTo>
                    <a:pt x="2289" y="3732"/>
                    <a:pt x="2255" y="3624"/>
                    <a:pt x="2159" y="3681"/>
                  </a:cubicBezTo>
                  <a:cubicBezTo>
                    <a:pt x="2125" y="3698"/>
                    <a:pt x="2045" y="3686"/>
                    <a:pt x="2034" y="3737"/>
                  </a:cubicBezTo>
                  <a:cubicBezTo>
                    <a:pt x="2022" y="3766"/>
                    <a:pt x="1988" y="3777"/>
                    <a:pt x="1971" y="3806"/>
                  </a:cubicBezTo>
                  <a:cubicBezTo>
                    <a:pt x="1954" y="3834"/>
                    <a:pt x="2011" y="3851"/>
                    <a:pt x="1965" y="3897"/>
                  </a:cubicBezTo>
                  <a:cubicBezTo>
                    <a:pt x="1931" y="3931"/>
                    <a:pt x="1960" y="3942"/>
                    <a:pt x="1903" y="3965"/>
                  </a:cubicBezTo>
                  <a:cubicBezTo>
                    <a:pt x="1857" y="3976"/>
                    <a:pt x="1806" y="3976"/>
                    <a:pt x="1761" y="3987"/>
                  </a:cubicBezTo>
                  <a:cubicBezTo>
                    <a:pt x="1727" y="3999"/>
                    <a:pt x="1698" y="4033"/>
                    <a:pt x="1670" y="4044"/>
                  </a:cubicBezTo>
                  <a:cubicBezTo>
                    <a:pt x="1647" y="4056"/>
                    <a:pt x="1642" y="4021"/>
                    <a:pt x="1619" y="4021"/>
                  </a:cubicBezTo>
                  <a:cubicBezTo>
                    <a:pt x="1596" y="4021"/>
                    <a:pt x="1585" y="4021"/>
                    <a:pt x="1568" y="4010"/>
                  </a:cubicBezTo>
                  <a:cubicBezTo>
                    <a:pt x="1545" y="3993"/>
                    <a:pt x="1522" y="4004"/>
                    <a:pt x="1499" y="3999"/>
                  </a:cubicBezTo>
                  <a:cubicBezTo>
                    <a:pt x="1483" y="3993"/>
                    <a:pt x="1437" y="3948"/>
                    <a:pt x="1437" y="3931"/>
                  </a:cubicBezTo>
                  <a:cubicBezTo>
                    <a:pt x="1420" y="3862"/>
                    <a:pt x="1403" y="3902"/>
                    <a:pt x="1357" y="3874"/>
                  </a:cubicBezTo>
                  <a:cubicBezTo>
                    <a:pt x="1323" y="3851"/>
                    <a:pt x="1335" y="3874"/>
                    <a:pt x="1323" y="3897"/>
                  </a:cubicBezTo>
                  <a:cubicBezTo>
                    <a:pt x="1301" y="3948"/>
                    <a:pt x="1301" y="3948"/>
                    <a:pt x="1301" y="3948"/>
                  </a:cubicBezTo>
                  <a:cubicBezTo>
                    <a:pt x="1301" y="3953"/>
                    <a:pt x="1233" y="3925"/>
                    <a:pt x="1221" y="3919"/>
                  </a:cubicBezTo>
                  <a:cubicBezTo>
                    <a:pt x="1170" y="3908"/>
                    <a:pt x="1164" y="3936"/>
                    <a:pt x="1164" y="3868"/>
                  </a:cubicBezTo>
                  <a:cubicBezTo>
                    <a:pt x="1164" y="3851"/>
                    <a:pt x="1119" y="3811"/>
                    <a:pt x="1107" y="3806"/>
                  </a:cubicBezTo>
                  <a:cubicBezTo>
                    <a:pt x="1085" y="3800"/>
                    <a:pt x="1051" y="3817"/>
                    <a:pt x="1028" y="3817"/>
                  </a:cubicBezTo>
                  <a:cubicBezTo>
                    <a:pt x="965" y="3817"/>
                    <a:pt x="977" y="3828"/>
                    <a:pt x="937" y="3789"/>
                  </a:cubicBezTo>
                  <a:cubicBezTo>
                    <a:pt x="920" y="3777"/>
                    <a:pt x="897" y="3794"/>
                    <a:pt x="886" y="3783"/>
                  </a:cubicBezTo>
                  <a:cubicBezTo>
                    <a:pt x="846" y="3737"/>
                    <a:pt x="960" y="3692"/>
                    <a:pt x="880" y="3686"/>
                  </a:cubicBezTo>
                  <a:cubicBezTo>
                    <a:pt x="846" y="3686"/>
                    <a:pt x="812" y="3681"/>
                    <a:pt x="789" y="3652"/>
                  </a:cubicBezTo>
                  <a:cubicBezTo>
                    <a:pt x="738" y="3641"/>
                    <a:pt x="738" y="3641"/>
                    <a:pt x="738" y="3641"/>
                  </a:cubicBezTo>
                  <a:lnTo>
                    <a:pt x="738" y="3641"/>
                  </a:lnTo>
                  <a:cubicBezTo>
                    <a:pt x="715" y="3595"/>
                    <a:pt x="721" y="3647"/>
                    <a:pt x="687" y="3635"/>
                  </a:cubicBezTo>
                  <a:cubicBezTo>
                    <a:pt x="653" y="3630"/>
                    <a:pt x="642" y="3681"/>
                    <a:pt x="596" y="3675"/>
                  </a:cubicBezTo>
                  <a:cubicBezTo>
                    <a:pt x="539" y="3675"/>
                    <a:pt x="539" y="3692"/>
                    <a:pt x="511" y="3630"/>
                  </a:cubicBezTo>
                  <a:cubicBezTo>
                    <a:pt x="500" y="3595"/>
                    <a:pt x="477" y="3533"/>
                    <a:pt x="454" y="3510"/>
                  </a:cubicBezTo>
                  <a:cubicBezTo>
                    <a:pt x="443" y="3499"/>
                    <a:pt x="420" y="3482"/>
                    <a:pt x="420" y="3459"/>
                  </a:cubicBezTo>
                  <a:lnTo>
                    <a:pt x="420" y="3465"/>
                  </a:lnTo>
                  <a:cubicBezTo>
                    <a:pt x="409" y="3436"/>
                    <a:pt x="380" y="3419"/>
                    <a:pt x="358" y="3391"/>
                  </a:cubicBezTo>
                  <a:cubicBezTo>
                    <a:pt x="346" y="3374"/>
                    <a:pt x="324" y="3340"/>
                    <a:pt x="318" y="3317"/>
                  </a:cubicBezTo>
                  <a:cubicBezTo>
                    <a:pt x="312" y="3294"/>
                    <a:pt x="312" y="3294"/>
                    <a:pt x="289" y="3289"/>
                  </a:cubicBezTo>
                  <a:cubicBezTo>
                    <a:pt x="272" y="3283"/>
                    <a:pt x="278" y="3243"/>
                    <a:pt x="284" y="3232"/>
                  </a:cubicBezTo>
                  <a:cubicBezTo>
                    <a:pt x="289" y="3226"/>
                    <a:pt x="295" y="3220"/>
                    <a:pt x="289" y="3209"/>
                  </a:cubicBezTo>
                  <a:cubicBezTo>
                    <a:pt x="289" y="3209"/>
                    <a:pt x="278" y="3215"/>
                    <a:pt x="267" y="3209"/>
                  </a:cubicBezTo>
                  <a:cubicBezTo>
                    <a:pt x="272" y="3152"/>
                    <a:pt x="272" y="3152"/>
                    <a:pt x="272" y="3152"/>
                  </a:cubicBezTo>
                  <a:cubicBezTo>
                    <a:pt x="278" y="3135"/>
                    <a:pt x="284" y="3124"/>
                    <a:pt x="284" y="3112"/>
                  </a:cubicBezTo>
                  <a:cubicBezTo>
                    <a:pt x="295" y="3078"/>
                    <a:pt x="324" y="3056"/>
                    <a:pt x="335" y="3027"/>
                  </a:cubicBezTo>
                  <a:cubicBezTo>
                    <a:pt x="340" y="3016"/>
                    <a:pt x="346" y="3010"/>
                    <a:pt x="352" y="2999"/>
                  </a:cubicBezTo>
                  <a:cubicBezTo>
                    <a:pt x="358" y="2982"/>
                    <a:pt x="324" y="2993"/>
                    <a:pt x="329" y="2970"/>
                  </a:cubicBezTo>
                  <a:cubicBezTo>
                    <a:pt x="329" y="2942"/>
                    <a:pt x="335" y="2908"/>
                    <a:pt x="335" y="2885"/>
                  </a:cubicBezTo>
                  <a:cubicBezTo>
                    <a:pt x="335" y="2868"/>
                    <a:pt x="340" y="2857"/>
                    <a:pt x="340" y="2840"/>
                  </a:cubicBezTo>
                  <a:cubicBezTo>
                    <a:pt x="346" y="2811"/>
                    <a:pt x="363" y="2823"/>
                    <a:pt x="380" y="2806"/>
                  </a:cubicBezTo>
                  <a:cubicBezTo>
                    <a:pt x="397" y="2794"/>
                    <a:pt x="403" y="2777"/>
                    <a:pt x="414" y="2766"/>
                  </a:cubicBezTo>
                  <a:cubicBezTo>
                    <a:pt x="426" y="2755"/>
                    <a:pt x="437" y="2760"/>
                    <a:pt x="443" y="2749"/>
                  </a:cubicBezTo>
                  <a:cubicBezTo>
                    <a:pt x="471" y="2726"/>
                    <a:pt x="460" y="2692"/>
                    <a:pt x="511" y="2692"/>
                  </a:cubicBezTo>
                  <a:cubicBezTo>
                    <a:pt x="539" y="2692"/>
                    <a:pt x="574" y="2613"/>
                    <a:pt x="596" y="2624"/>
                  </a:cubicBezTo>
                  <a:cubicBezTo>
                    <a:pt x="596" y="2613"/>
                    <a:pt x="613" y="2567"/>
                    <a:pt x="608" y="2556"/>
                  </a:cubicBezTo>
                  <a:cubicBezTo>
                    <a:pt x="602" y="2550"/>
                    <a:pt x="602" y="2539"/>
                    <a:pt x="602" y="2527"/>
                  </a:cubicBezTo>
                  <a:cubicBezTo>
                    <a:pt x="613" y="2527"/>
                    <a:pt x="625" y="2499"/>
                    <a:pt x="630" y="2493"/>
                  </a:cubicBezTo>
                  <a:cubicBezTo>
                    <a:pt x="630" y="2476"/>
                    <a:pt x="653" y="2459"/>
                    <a:pt x="664" y="2448"/>
                  </a:cubicBezTo>
                  <a:cubicBezTo>
                    <a:pt x="670" y="2431"/>
                    <a:pt x="715" y="2363"/>
                    <a:pt x="710" y="2345"/>
                  </a:cubicBezTo>
                  <a:cubicBezTo>
                    <a:pt x="710" y="2340"/>
                    <a:pt x="698" y="2334"/>
                    <a:pt x="698" y="2323"/>
                  </a:cubicBezTo>
                  <a:cubicBezTo>
                    <a:pt x="698" y="2306"/>
                    <a:pt x="704" y="2300"/>
                    <a:pt x="698" y="2283"/>
                  </a:cubicBezTo>
                  <a:cubicBezTo>
                    <a:pt x="681" y="2260"/>
                    <a:pt x="636" y="2215"/>
                    <a:pt x="608" y="2215"/>
                  </a:cubicBezTo>
                  <a:cubicBezTo>
                    <a:pt x="568" y="2215"/>
                    <a:pt x="511" y="2249"/>
                    <a:pt x="483" y="2209"/>
                  </a:cubicBezTo>
                  <a:cubicBezTo>
                    <a:pt x="477" y="2203"/>
                    <a:pt x="488" y="2158"/>
                    <a:pt x="488" y="2141"/>
                  </a:cubicBezTo>
                  <a:cubicBezTo>
                    <a:pt x="488" y="2107"/>
                    <a:pt x="448" y="2118"/>
                    <a:pt x="420" y="2107"/>
                  </a:cubicBezTo>
                  <a:cubicBezTo>
                    <a:pt x="369" y="2090"/>
                    <a:pt x="335" y="2027"/>
                    <a:pt x="358" y="1971"/>
                  </a:cubicBezTo>
                  <a:cubicBezTo>
                    <a:pt x="375" y="1942"/>
                    <a:pt x="352" y="1948"/>
                    <a:pt x="335" y="1925"/>
                  </a:cubicBezTo>
                  <a:cubicBezTo>
                    <a:pt x="324" y="1908"/>
                    <a:pt x="289" y="1874"/>
                    <a:pt x="284" y="1857"/>
                  </a:cubicBezTo>
                  <a:cubicBezTo>
                    <a:pt x="278" y="1840"/>
                    <a:pt x="278" y="1823"/>
                    <a:pt x="278" y="1806"/>
                  </a:cubicBezTo>
                  <a:cubicBezTo>
                    <a:pt x="272" y="1777"/>
                    <a:pt x="261" y="1800"/>
                    <a:pt x="278" y="1766"/>
                  </a:cubicBezTo>
                  <a:cubicBezTo>
                    <a:pt x="289" y="1749"/>
                    <a:pt x="301" y="1670"/>
                    <a:pt x="284" y="1664"/>
                  </a:cubicBezTo>
                  <a:cubicBezTo>
                    <a:pt x="261" y="1647"/>
                    <a:pt x="238" y="1635"/>
                    <a:pt x="216" y="1624"/>
                  </a:cubicBezTo>
                  <a:cubicBezTo>
                    <a:pt x="176" y="1607"/>
                    <a:pt x="187" y="1556"/>
                    <a:pt x="153" y="1556"/>
                  </a:cubicBezTo>
                  <a:cubicBezTo>
                    <a:pt x="130" y="1556"/>
                    <a:pt x="125" y="1544"/>
                    <a:pt x="113" y="1522"/>
                  </a:cubicBezTo>
                  <a:cubicBezTo>
                    <a:pt x="96" y="1500"/>
                    <a:pt x="85" y="1489"/>
                    <a:pt x="62" y="1472"/>
                  </a:cubicBezTo>
                  <a:cubicBezTo>
                    <a:pt x="51" y="1460"/>
                    <a:pt x="22" y="1409"/>
                    <a:pt x="17" y="1398"/>
                  </a:cubicBezTo>
                  <a:cubicBezTo>
                    <a:pt x="0" y="1347"/>
                    <a:pt x="0" y="1347"/>
                    <a:pt x="0" y="1347"/>
                  </a:cubicBezTo>
                  <a:cubicBezTo>
                    <a:pt x="17" y="1347"/>
                    <a:pt x="39" y="1335"/>
                    <a:pt x="56" y="1335"/>
                  </a:cubicBezTo>
                  <a:cubicBezTo>
                    <a:pt x="74" y="1335"/>
                    <a:pt x="96" y="1347"/>
                    <a:pt x="113" y="1352"/>
                  </a:cubicBezTo>
                  <a:cubicBezTo>
                    <a:pt x="130" y="1364"/>
                    <a:pt x="153" y="1364"/>
                    <a:pt x="176" y="1364"/>
                  </a:cubicBezTo>
                  <a:cubicBezTo>
                    <a:pt x="210" y="1358"/>
                    <a:pt x="233" y="1398"/>
                    <a:pt x="267" y="1369"/>
                  </a:cubicBezTo>
                  <a:cubicBezTo>
                    <a:pt x="312" y="1335"/>
                    <a:pt x="346" y="1330"/>
                    <a:pt x="397" y="1347"/>
                  </a:cubicBezTo>
                  <a:cubicBezTo>
                    <a:pt x="420" y="1352"/>
                    <a:pt x="437" y="1369"/>
                    <a:pt x="460" y="1364"/>
                  </a:cubicBezTo>
                  <a:cubicBezTo>
                    <a:pt x="494" y="1358"/>
                    <a:pt x="500" y="1341"/>
                    <a:pt x="539" y="1341"/>
                  </a:cubicBezTo>
                  <a:cubicBezTo>
                    <a:pt x="556" y="1341"/>
                    <a:pt x="579" y="1358"/>
                    <a:pt x="602" y="1352"/>
                  </a:cubicBezTo>
                  <a:cubicBezTo>
                    <a:pt x="613" y="1347"/>
                    <a:pt x="625" y="1341"/>
                    <a:pt x="642" y="1330"/>
                  </a:cubicBezTo>
                  <a:cubicBezTo>
                    <a:pt x="647" y="1301"/>
                    <a:pt x="647" y="1301"/>
                    <a:pt x="647" y="1301"/>
                  </a:cubicBezTo>
                  <a:cubicBezTo>
                    <a:pt x="647" y="1273"/>
                    <a:pt x="659" y="1261"/>
                    <a:pt x="670" y="1233"/>
                  </a:cubicBezTo>
                  <a:cubicBezTo>
                    <a:pt x="676" y="1216"/>
                    <a:pt x="664" y="1187"/>
                    <a:pt x="676" y="1171"/>
                  </a:cubicBezTo>
                  <a:cubicBezTo>
                    <a:pt x="687" y="1153"/>
                    <a:pt x="681" y="1148"/>
                    <a:pt x="676" y="1131"/>
                  </a:cubicBezTo>
                  <a:cubicBezTo>
                    <a:pt x="664" y="1114"/>
                    <a:pt x="681" y="1085"/>
                    <a:pt x="698" y="1085"/>
                  </a:cubicBezTo>
                  <a:cubicBezTo>
                    <a:pt x="727" y="1085"/>
                    <a:pt x="733" y="1051"/>
                    <a:pt x="755" y="1034"/>
                  </a:cubicBezTo>
                  <a:cubicBezTo>
                    <a:pt x="789" y="1017"/>
                    <a:pt x="772" y="972"/>
                    <a:pt x="772" y="949"/>
                  </a:cubicBezTo>
                  <a:cubicBezTo>
                    <a:pt x="772" y="915"/>
                    <a:pt x="812" y="904"/>
                    <a:pt x="806" y="875"/>
                  </a:cubicBezTo>
                  <a:cubicBezTo>
                    <a:pt x="789" y="824"/>
                    <a:pt x="835" y="762"/>
                    <a:pt x="784" y="710"/>
                  </a:cubicBezTo>
                  <a:cubicBezTo>
                    <a:pt x="772" y="699"/>
                    <a:pt x="761" y="705"/>
                    <a:pt x="755" y="682"/>
                  </a:cubicBezTo>
                  <a:cubicBezTo>
                    <a:pt x="727" y="591"/>
                    <a:pt x="698" y="654"/>
                    <a:pt x="647" y="608"/>
                  </a:cubicBezTo>
                  <a:cubicBezTo>
                    <a:pt x="625" y="597"/>
                    <a:pt x="630" y="551"/>
                    <a:pt x="642" y="534"/>
                  </a:cubicBezTo>
                  <a:cubicBezTo>
                    <a:pt x="636" y="506"/>
                    <a:pt x="613" y="517"/>
                    <a:pt x="630" y="477"/>
                  </a:cubicBezTo>
                  <a:cubicBezTo>
                    <a:pt x="642" y="466"/>
                    <a:pt x="653" y="443"/>
                    <a:pt x="653" y="426"/>
                  </a:cubicBezTo>
                  <a:cubicBezTo>
                    <a:pt x="664" y="426"/>
                    <a:pt x="687" y="426"/>
                    <a:pt x="698" y="426"/>
                  </a:cubicBezTo>
                  <a:cubicBezTo>
                    <a:pt x="710" y="421"/>
                    <a:pt x="710" y="404"/>
                    <a:pt x="721" y="398"/>
                  </a:cubicBezTo>
                  <a:cubicBezTo>
                    <a:pt x="738" y="386"/>
                    <a:pt x="795" y="386"/>
                    <a:pt x="812" y="381"/>
                  </a:cubicBezTo>
                  <a:lnTo>
                    <a:pt x="812" y="381"/>
                  </a:lnTo>
                  <a:cubicBezTo>
                    <a:pt x="857" y="398"/>
                    <a:pt x="857" y="398"/>
                    <a:pt x="857" y="398"/>
                  </a:cubicBezTo>
                  <a:cubicBezTo>
                    <a:pt x="892" y="415"/>
                    <a:pt x="892" y="415"/>
                    <a:pt x="931" y="415"/>
                  </a:cubicBezTo>
                  <a:cubicBezTo>
                    <a:pt x="965" y="415"/>
                    <a:pt x="988" y="369"/>
                    <a:pt x="1011" y="375"/>
                  </a:cubicBezTo>
                  <a:cubicBezTo>
                    <a:pt x="1028" y="438"/>
                    <a:pt x="1039" y="398"/>
                    <a:pt x="1085" y="381"/>
                  </a:cubicBezTo>
                  <a:cubicBezTo>
                    <a:pt x="1102" y="375"/>
                    <a:pt x="1119" y="386"/>
                    <a:pt x="1136" y="381"/>
                  </a:cubicBezTo>
                  <a:cubicBezTo>
                    <a:pt x="1153" y="375"/>
                    <a:pt x="1204" y="358"/>
                    <a:pt x="1204" y="341"/>
                  </a:cubicBezTo>
                  <a:cubicBezTo>
                    <a:pt x="1204" y="307"/>
                    <a:pt x="1210" y="256"/>
                    <a:pt x="1249" y="244"/>
                  </a:cubicBezTo>
                  <a:cubicBezTo>
                    <a:pt x="1272" y="233"/>
                    <a:pt x="1284" y="216"/>
                    <a:pt x="1312" y="216"/>
                  </a:cubicBezTo>
                  <a:cubicBezTo>
                    <a:pt x="1340" y="216"/>
                    <a:pt x="1352" y="205"/>
                    <a:pt x="1369" y="176"/>
                  </a:cubicBezTo>
                  <a:cubicBezTo>
                    <a:pt x="1392" y="171"/>
                    <a:pt x="1397" y="171"/>
                    <a:pt x="1420" y="165"/>
                  </a:cubicBezTo>
                  <a:cubicBezTo>
                    <a:pt x="1431" y="165"/>
                    <a:pt x="1454" y="103"/>
                    <a:pt x="1483" y="97"/>
                  </a:cubicBezTo>
                  <a:cubicBezTo>
                    <a:pt x="1534" y="80"/>
                    <a:pt x="1607" y="0"/>
                    <a:pt x="1647" y="51"/>
                  </a:cubicBezTo>
                  <a:cubicBezTo>
                    <a:pt x="1681" y="91"/>
                    <a:pt x="1681" y="91"/>
                    <a:pt x="1681" y="91"/>
                  </a:cubicBezTo>
                  <a:cubicBezTo>
                    <a:pt x="1687" y="103"/>
                    <a:pt x="1698" y="103"/>
                    <a:pt x="1710" y="97"/>
                  </a:cubicBezTo>
                  <a:cubicBezTo>
                    <a:pt x="1767" y="91"/>
                    <a:pt x="1693" y="131"/>
                    <a:pt x="1744" y="142"/>
                  </a:cubicBezTo>
                  <a:cubicBezTo>
                    <a:pt x="1823" y="165"/>
                    <a:pt x="1738" y="227"/>
                    <a:pt x="1772" y="244"/>
                  </a:cubicBezTo>
                  <a:cubicBezTo>
                    <a:pt x="1784" y="250"/>
                    <a:pt x="1846" y="261"/>
                    <a:pt x="1852" y="261"/>
                  </a:cubicBezTo>
                  <a:cubicBezTo>
                    <a:pt x="1863" y="278"/>
                    <a:pt x="1857" y="313"/>
                    <a:pt x="1886" y="318"/>
                  </a:cubicBezTo>
                  <a:cubicBezTo>
                    <a:pt x="1954" y="330"/>
                    <a:pt x="1948" y="404"/>
                    <a:pt x="2005" y="324"/>
                  </a:cubicBezTo>
                  <a:cubicBezTo>
                    <a:pt x="2022" y="290"/>
                    <a:pt x="2034" y="290"/>
                    <a:pt x="2068" y="284"/>
                  </a:cubicBezTo>
                  <a:cubicBezTo>
                    <a:pt x="2090" y="278"/>
                    <a:pt x="2102" y="244"/>
                    <a:pt x="2130" y="239"/>
                  </a:cubicBezTo>
                  <a:lnTo>
                    <a:pt x="2130" y="239"/>
                  </a:lnTo>
                  <a:cubicBezTo>
                    <a:pt x="2130" y="261"/>
                    <a:pt x="2142" y="284"/>
                    <a:pt x="2136" y="307"/>
                  </a:cubicBezTo>
                  <a:cubicBezTo>
                    <a:pt x="2125" y="352"/>
                    <a:pt x="2159" y="364"/>
                    <a:pt x="2204" y="347"/>
                  </a:cubicBezTo>
                  <a:cubicBezTo>
                    <a:pt x="2227" y="335"/>
                    <a:pt x="2261" y="352"/>
                    <a:pt x="2278" y="369"/>
                  </a:cubicBezTo>
                  <a:cubicBezTo>
                    <a:pt x="2289" y="386"/>
                    <a:pt x="2295" y="404"/>
                    <a:pt x="2318" y="404"/>
                  </a:cubicBezTo>
                  <a:cubicBezTo>
                    <a:pt x="2352" y="404"/>
                    <a:pt x="2346" y="443"/>
                    <a:pt x="2374" y="460"/>
                  </a:cubicBezTo>
                  <a:cubicBezTo>
                    <a:pt x="2414" y="477"/>
                    <a:pt x="2437" y="506"/>
                    <a:pt x="2488" y="483"/>
                  </a:cubicBezTo>
                  <a:cubicBezTo>
                    <a:pt x="2511" y="483"/>
                    <a:pt x="2539" y="472"/>
                    <a:pt x="2551" y="455"/>
                  </a:cubicBezTo>
                  <a:cubicBezTo>
                    <a:pt x="2562" y="438"/>
                    <a:pt x="2573" y="421"/>
                    <a:pt x="2590" y="409"/>
                  </a:cubicBezTo>
                  <a:cubicBezTo>
                    <a:pt x="2596" y="404"/>
                    <a:pt x="2613" y="404"/>
                    <a:pt x="2624" y="404"/>
                  </a:cubicBezTo>
                  <a:cubicBezTo>
                    <a:pt x="2630" y="404"/>
                    <a:pt x="2698" y="369"/>
                    <a:pt x="2687" y="392"/>
                  </a:cubicBezTo>
                  <a:cubicBezTo>
                    <a:pt x="2676" y="415"/>
                    <a:pt x="2658" y="432"/>
                    <a:pt x="2658" y="455"/>
                  </a:cubicBezTo>
                  <a:cubicBezTo>
                    <a:pt x="2658" y="472"/>
                    <a:pt x="2664" y="489"/>
                    <a:pt x="2664" y="506"/>
                  </a:cubicBezTo>
                  <a:cubicBezTo>
                    <a:pt x="2658" y="534"/>
                    <a:pt x="2653" y="546"/>
                    <a:pt x="2670" y="574"/>
                  </a:cubicBezTo>
                  <a:cubicBezTo>
                    <a:pt x="2681" y="591"/>
                    <a:pt x="2693" y="602"/>
                    <a:pt x="2698" y="62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1" name="Freeform 162"/>
            <p:cNvSpPr>
              <a:spLocks noChangeArrowheads="1"/>
            </p:cNvSpPr>
            <p:nvPr/>
          </p:nvSpPr>
          <p:spPr bwMode="auto">
            <a:xfrm>
              <a:off x="13240946" y="8723539"/>
              <a:ext cx="4996272" cy="2916207"/>
            </a:xfrm>
            <a:custGeom>
              <a:avLst/>
              <a:gdLst>
                <a:gd name="T0" fmla="*/ 3249 w 7221"/>
                <a:gd name="T1" fmla="*/ 96 h 4216"/>
                <a:gd name="T2" fmla="*/ 3613 w 7221"/>
                <a:gd name="T3" fmla="*/ 380 h 4216"/>
                <a:gd name="T4" fmla="*/ 3994 w 7221"/>
                <a:gd name="T5" fmla="*/ 522 h 4216"/>
                <a:gd name="T6" fmla="*/ 4516 w 7221"/>
                <a:gd name="T7" fmla="*/ 551 h 4216"/>
                <a:gd name="T8" fmla="*/ 4845 w 7221"/>
                <a:gd name="T9" fmla="*/ 437 h 4216"/>
                <a:gd name="T10" fmla="*/ 5078 w 7221"/>
                <a:gd name="T11" fmla="*/ 409 h 4216"/>
                <a:gd name="T12" fmla="*/ 5493 w 7221"/>
                <a:gd name="T13" fmla="*/ 431 h 4216"/>
                <a:gd name="T14" fmla="*/ 5657 w 7221"/>
                <a:gd name="T15" fmla="*/ 420 h 4216"/>
                <a:gd name="T16" fmla="*/ 6078 w 7221"/>
                <a:gd name="T17" fmla="*/ 426 h 4216"/>
                <a:gd name="T18" fmla="*/ 6220 w 7221"/>
                <a:gd name="T19" fmla="*/ 727 h 4216"/>
                <a:gd name="T20" fmla="*/ 6089 w 7221"/>
                <a:gd name="T21" fmla="*/ 1000 h 4216"/>
                <a:gd name="T22" fmla="*/ 6345 w 7221"/>
                <a:gd name="T23" fmla="*/ 1096 h 4216"/>
                <a:gd name="T24" fmla="*/ 6686 w 7221"/>
                <a:gd name="T25" fmla="*/ 1318 h 4216"/>
                <a:gd name="T26" fmla="*/ 6765 w 7221"/>
                <a:gd name="T27" fmla="*/ 1511 h 4216"/>
                <a:gd name="T28" fmla="*/ 6839 w 7221"/>
                <a:gd name="T29" fmla="*/ 1801 h 4216"/>
                <a:gd name="T30" fmla="*/ 7220 w 7221"/>
                <a:gd name="T31" fmla="*/ 2107 h 4216"/>
                <a:gd name="T32" fmla="*/ 6885 w 7221"/>
                <a:gd name="T33" fmla="*/ 2766 h 4216"/>
                <a:gd name="T34" fmla="*/ 6527 w 7221"/>
                <a:gd name="T35" fmla="*/ 3107 h 4216"/>
                <a:gd name="T36" fmla="*/ 6214 w 7221"/>
                <a:gd name="T37" fmla="*/ 2937 h 4216"/>
                <a:gd name="T38" fmla="*/ 5782 w 7221"/>
                <a:gd name="T39" fmla="*/ 3130 h 4216"/>
                <a:gd name="T40" fmla="*/ 5504 w 7221"/>
                <a:gd name="T41" fmla="*/ 3073 h 4216"/>
                <a:gd name="T42" fmla="*/ 4919 w 7221"/>
                <a:gd name="T43" fmla="*/ 3124 h 4216"/>
                <a:gd name="T44" fmla="*/ 4534 w 7221"/>
                <a:gd name="T45" fmla="*/ 3068 h 4216"/>
                <a:gd name="T46" fmla="*/ 3982 w 7221"/>
                <a:gd name="T47" fmla="*/ 3119 h 4216"/>
                <a:gd name="T48" fmla="*/ 3499 w 7221"/>
                <a:gd name="T49" fmla="*/ 3437 h 4216"/>
                <a:gd name="T50" fmla="*/ 2943 w 7221"/>
                <a:gd name="T51" fmla="*/ 3551 h 4216"/>
                <a:gd name="T52" fmla="*/ 2749 w 7221"/>
                <a:gd name="T53" fmla="*/ 3783 h 4216"/>
                <a:gd name="T54" fmla="*/ 2681 w 7221"/>
                <a:gd name="T55" fmla="*/ 3954 h 4216"/>
                <a:gd name="T56" fmla="*/ 2551 w 7221"/>
                <a:gd name="T57" fmla="*/ 4056 h 4216"/>
                <a:gd name="T58" fmla="*/ 2232 w 7221"/>
                <a:gd name="T59" fmla="*/ 4113 h 4216"/>
                <a:gd name="T60" fmla="*/ 1806 w 7221"/>
                <a:gd name="T61" fmla="*/ 3903 h 4216"/>
                <a:gd name="T62" fmla="*/ 1636 w 7221"/>
                <a:gd name="T63" fmla="*/ 3653 h 4216"/>
                <a:gd name="T64" fmla="*/ 1585 w 7221"/>
                <a:gd name="T65" fmla="*/ 3386 h 4216"/>
                <a:gd name="T66" fmla="*/ 1380 w 7221"/>
                <a:gd name="T67" fmla="*/ 3181 h 4216"/>
                <a:gd name="T68" fmla="*/ 1352 w 7221"/>
                <a:gd name="T69" fmla="*/ 2914 h 4216"/>
                <a:gd name="T70" fmla="*/ 937 w 7221"/>
                <a:gd name="T71" fmla="*/ 2528 h 4216"/>
                <a:gd name="T72" fmla="*/ 147 w 7221"/>
                <a:gd name="T73" fmla="*/ 2431 h 4216"/>
                <a:gd name="T74" fmla="*/ 113 w 7221"/>
                <a:gd name="T75" fmla="*/ 2323 h 4216"/>
                <a:gd name="T76" fmla="*/ 79 w 7221"/>
                <a:gd name="T77" fmla="*/ 2045 h 4216"/>
                <a:gd name="T78" fmla="*/ 22 w 7221"/>
                <a:gd name="T79" fmla="*/ 1795 h 4216"/>
                <a:gd name="T80" fmla="*/ 91 w 7221"/>
                <a:gd name="T81" fmla="*/ 1608 h 4216"/>
                <a:gd name="T82" fmla="*/ 289 w 7221"/>
                <a:gd name="T83" fmla="*/ 1306 h 4216"/>
                <a:gd name="T84" fmla="*/ 483 w 7221"/>
                <a:gd name="T85" fmla="*/ 1113 h 4216"/>
                <a:gd name="T86" fmla="*/ 653 w 7221"/>
                <a:gd name="T87" fmla="*/ 994 h 4216"/>
                <a:gd name="T88" fmla="*/ 721 w 7221"/>
                <a:gd name="T89" fmla="*/ 818 h 4216"/>
                <a:gd name="T90" fmla="*/ 920 w 7221"/>
                <a:gd name="T91" fmla="*/ 966 h 4216"/>
                <a:gd name="T92" fmla="*/ 1204 w 7221"/>
                <a:gd name="T93" fmla="*/ 1096 h 4216"/>
                <a:gd name="T94" fmla="*/ 1420 w 7221"/>
                <a:gd name="T95" fmla="*/ 1108 h 4216"/>
                <a:gd name="T96" fmla="*/ 1653 w 7221"/>
                <a:gd name="T97" fmla="*/ 1221 h 4216"/>
                <a:gd name="T98" fmla="*/ 1954 w 7221"/>
                <a:gd name="T99" fmla="*/ 983 h 4216"/>
                <a:gd name="T100" fmla="*/ 2210 w 7221"/>
                <a:gd name="T101" fmla="*/ 1011 h 4216"/>
                <a:gd name="T102" fmla="*/ 2426 w 7221"/>
                <a:gd name="T103" fmla="*/ 846 h 4216"/>
                <a:gd name="T104" fmla="*/ 2397 w 7221"/>
                <a:gd name="T105" fmla="*/ 568 h 4216"/>
                <a:gd name="T106" fmla="*/ 2551 w 7221"/>
                <a:gd name="T107" fmla="*/ 346 h 4216"/>
                <a:gd name="T108" fmla="*/ 2875 w 7221"/>
                <a:gd name="T109" fmla="*/ 74 h 4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21" h="4216">
                  <a:moveTo>
                    <a:pt x="3073" y="0"/>
                  </a:moveTo>
                  <a:lnTo>
                    <a:pt x="3073" y="0"/>
                  </a:lnTo>
                  <a:cubicBezTo>
                    <a:pt x="3090" y="39"/>
                    <a:pt x="3090" y="39"/>
                    <a:pt x="3090" y="39"/>
                  </a:cubicBezTo>
                  <a:cubicBezTo>
                    <a:pt x="3119" y="119"/>
                    <a:pt x="3238" y="28"/>
                    <a:pt x="3249" y="96"/>
                  </a:cubicBezTo>
                  <a:cubicBezTo>
                    <a:pt x="3255" y="159"/>
                    <a:pt x="3255" y="193"/>
                    <a:pt x="3329" y="210"/>
                  </a:cubicBezTo>
                  <a:cubicBezTo>
                    <a:pt x="3357" y="216"/>
                    <a:pt x="3431" y="227"/>
                    <a:pt x="3448" y="250"/>
                  </a:cubicBezTo>
                  <a:cubicBezTo>
                    <a:pt x="3477" y="272"/>
                    <a:pt x="3494" y="284"/>
                    <a:pt x="3528" y="301"/>
                  </a:cubicBezTo>
                  <a:cubicBezTo>
                    <a:pt x="3573" y="329"/>
                    <a:pt x="3551" y="358"/>
                    <a:pt x="3613" y="380"/>
                  </a:cubicBezTo>
                  <a:cubicBezTo>
                    <a:pt x="3641" y="386"/>
                    <a:pt x="3676" y="415"/>
                    <a:pt x="3698" y="437"/>
                  </a:cubicBezTo>
                  <a:cubicBezTo>
                    <a:pt x="3732" y="483"/>
                    <a:pt x="3772" y="500"/>
                    <a:pt x="3823" y="522"/>
                  </a:cubicBezTo>
                  <a:cubicBezTo>
                    <a:pt x="3840" y="534"/>
                    <a:pt x="3897" y="591"/>
                    <a:pt x="3914" y="591"/>
                  </a:cubicBezTo>
                  <a:cubicBezTo>
                    <a:pt x="3931" y="591"/>
                    <a:pt x="3971" y="539"/>
                    <a:pt x="3994" y="522"/>
                  </a:cubicBezTo>
                  <a:cubicBezTo>
                    <a:pt x="4028" y="500"/>
                    <a:pt x="4096" y="545"/>
                    <a:pt x="4136" y="545"/>
                  </a:cubicBezTo>
                  <a:cubicBezTo>
                    <a:pt x="4170" y="545"/>
                    <a:pt x="4210" y="534"/>
                    <a:pt x="4244" y="545"/>
                  </a:cubicBezTo>
                  <a:cubicBezTo>
                    <a:pt x="4278" y="551"/>
                    <a:pt x="4312" y="562"/>
                    <a:pt x="4340" y="562"/>
                  </a:cubicBezTo>
                  <a:cubicBezTo>
                    <a:pt x="4374" y="568"/>
                    <a:pt x="4482" y="562"/>
                    <a:pt x="4516" y="551"/>
                  </a:cubicBezTo>
                  <a:cubicBezTo>
                    <a:pt x="4550" y="534"/>
                    <a:pt x="4556" y="449"/>
                    <a:pt x="4613" y="483"/>
                  </a:cubicBezTo>
                  <a:cubicBezTo>
                    <a:pt x="4630" y="494"/>
                    <a:pt x="4647" y="477"/>
                    <a:pt x="4664" y="477"/>
                  </a:cubicBezTo>
                  <a:cubicBezTo>
                    <a:pt x="4704" y="483"/>
                    <a:pt x="4731" y="500"/>
                    <a:pt x="4765" y="511"/>
                  </a:cubicBezTo>
                  <a:cubicBezTo>
                    <a:pt x="4851" y="545"/>
                    <a:pt x="4794" y="437"/>
                    <a:pt x="4845" y="437"/>
                  </a:cubicBezTo>
                  <a:cubicBezTo>
                    <a:pt x="4873" y="437"/>
                    <a:pt x="4885" y="449"/>
                    <a:pt x="4885" y="471"/>
                  </a:cubicBezTo>
                  <a:cubicBezTo>
                    <a:pt x="4885" y="505"/>
                    <a:pt x="4925" y="511"/>
                    <a:pt x="4953" y="511"/>
                  </a:cubicBezTo>
                  <a:cubicBezTo>
                    <a:pt x="4998" y="528"/>
                    <a:pt x="5004" y="500"/>
                    <a:pt x="5044" y="477"/>
                  </a:cubicBezTo>
                  <a:cubicBezTo>
                    <a:pt x="5084" y="449"/>
                    <a:pt x="5061" y="431"/>
                    <a:pt x="5078" y="409"/>
                  </a:cubicBezTo>
                  <a:cubicBezTo>
                    <a:pt x="5084" y="403"/>
                    <a:pt x="5146" y="386"/>
                    <a:pt x="5152" y="386"/>
                  </a:cubicBezTo>
                  <a:cubicBezTo>
                    <a:pt x="5163" y="386"/>
                    <a:pt x="5186" y="415"/>
                    <a:pt x="5203" y="420"/>
                  </a:cubicBezTo>
                  <a:cubicBezTo>
                    <a:pt x="5237" y="437"/>
                    <a:pt x="5294" y="437"/>
                    <a:pt x="5334" y="443"/>
                  </a:cubicBezTo>
                  <a:cubicBezTo>
                    <a:pt x="5407" y="460"/>
                    <a:pt x="5459" y="352"/>
                    <a:pt x="5493" y="431"/>
                  </a:cubicBezTo>
                  <a:cubicBezTo>
                    <a:pt x="5498" y="437"/>
                    <a:pt x="5532" y="494"/>
                    <a:pt x="5544" y="488"/>
                  </a:cubicBezTo>
                  <a:cubicBezTo>
                    <a:pt x="5549" y="483"/>
                    <a:pt x="5555" y="454"/>
                    <a:pt x="5561" y="443"/>
                  </a:cubicBezTo>
                  <a:cubicBezTo>
                    <a:pt x="5572" y="426"/>
                    <a:pt x="5589" y="415"/>
                    <a:pt x="5606" y="403"/>
                  </a:cubicBezTo>
                  <a:cubicBezTo>
                    <a:pt x="5646" y="392"/>
                    <a:pt x="5635" y="415"/>
                    <a:pt x="5657" y="420"/>
                  </a:cubicBezTo>
                  <a:cubicBezTo>
                    <a:pt x="5720" y="443"/>
                    <a:pt x="5771" y="352"/>
                    <a:pt x="5811" y="318"/>
                  </a:cubicBezTo>
                  <a:cubicBezTo>
                    <a:pt x="5851" y="289"/>
                    <a:pt x="5890" y="363"/>
                    <a:pt x="5930" y="363"/>
                  </a:cubicBezTo>
                  <a:cubicBezTo>
                    <a:pt x="5970" y="363"/>
                    <a:pt x="6010" y="318"/>
                    <a:pt x="6049" y="352"/>
                  </a:cubicBezTo>
                  <a:cubicBezTo>
                    <a:pt x="6061" y="363"/>
                    <a:pt x="6084" y="409"/>
                    <a:pt x="6078" y="426"/>
                  </a:cubicBezTo>
                  <a:cubicBezTo>
                    <a:pt x="6055" y="517"/>
                    <a:pt x="6066" y="483"/>
                    <a:pt x="6140" y="511"/>
                  </a:cubicBezTo>
                  <a:cubicBezTo>
                    <a:pt x="6180" y="528"/>
                    <a:pt x="6157" y="619"/>
                    <a:pt x="6163" y="659"/>
                  </a:cubicBezTo>
                  <a:cubicBezTo>
                    <a:pt x="6174" y="670"/>
                    <a:pt x="6180" y="676"/>
                    <a:pt x="6197" y="681"/>
                  </a:cubicBezTo>
                  <a:cubicBezTo>
                    <a:pt x="6231" y="693"/>
                    <a:pt x="6220" y="687"/>
                    <a:pt x="6220" y="727"/>
                  </a:cubicBezTo>
                  <a:cubicBezTo>
                    <a:pt x="6220" y="744"/>
                    <a:pt x="6214" y="761"/>
                    <a:pt x="6214" y="784"/>
                  </a:cubicBezTo>
                  <a:cubicBezTo>
                    <a:pt x="6214" y="835"/>
                    <a:pt x="6220" y="841"/>
                    <a:pt x="6186" y="886"/>
                  </a:cubicBezTo>
                  <a:cubicBezTo>
                    <a:pt x="6169" y="909"/>
                    <a:pt x="6146" y="937"/>
                    <a:pt x="6129" y="954"/>
                  </a:cubicBezTo>
                  <a:cubicBezTo>
                    <a:pt x="6123" y="960"/>
                    <a:pt x="6089" y="988"/>
                    <a:pt x="6089" y="1000"/>
                  </a:cubicBezTo>
                  <a:cubicBezTo>
                    <a:pt x="6089" y="1011"/>
                    <a:pt x="6180" y="1056"/>
                    <a:pt x="6192" y="1068"/>
                  </a:cubicBezTo>
                  <a:cubicBezTo>
                    <a:pt x="6231" y="1085"/>
                    <a:pt x="6265" y="1102"/>
                    <a:pt x="6305" y="1102"/>
                  </a:cubicBezTo>
                  <a:cubicBezTo>
                    <a:pt x="6345" y="1096"/>
                    <a:pt x="6345" y="1096"/>
                    <a:pt x="6345" y="1096"/>
                  </a:cubicBezTo>
                  <a:lnTo>
                    <a:pt x="6345" y="1096"/>
                  </a:lnTo>
                  <a:cubicBezTo>
                    <a:pt x="6356" y="1119"/>
                    <a:pt x="6390" y="1125"/>
                    <a:pt x="6402" y="1147"/>
                  </a:cubicBezTo>
                  <a:cubicBezTo>
                    <a:pt x="6419" y="1176"/>
                    <a:pt x="6424" y="1198"/>
                    <a:pt x="6447" y="1227"/>
                  </a:cubicBezTo>
                  <a:cubicBezTo>
                    <a:pt x="6476" y="1267"/>
                    <a:pt x="6549" y="1301"/>
                    <a:pt x="6595" y="1301"/>
                  </a:cubicBezTo>
                  <a:cubicBezTo>
                    <a:pt x="6635" y="1306"/>
                    <a:pt x="6640" y="1324"/>
                    <a:pt x="6686" y="1318"/>
                  </a:cubicBezTo>
                  <a:cubicBezTo>
                    <a:pt x="6703" y="1318"/>
                    <a:pt x="6720" y="1335"/>
                    <a:pt x="6737" y="1340"/>
                  </a:cubicBezTo>
                  <a:cubicBezTo>
                    <a:pt x="6760" y="1346"/>
                    <a:pt x="6777" y="1329"/>
                    <a:pt x="6799" y="1329"/>
                  </a:cubicBezTo>
                  <a:cubicBezTo>
                    <a:pt x="6794" y="1352"/>
                    <a:pt x="6777" y="1386"/>
                    <a:pt x="6765" y="1403"/>
                  </a:cubicBezTo>
                  <a:cubicBezTo>
                    <a:pt x="6754" y="1426"/>
                    <a:pt x="6771" y="1483"/>
                    <a:pt x="6765" y="1511"/>
                  </a:cubicBezTo>
                  <a:cubicBezTo>
                    <a:pt x="6765" y="1528"/>
                    <a:pt x="6777" y="1539"/>
                    <a:pt x="6771" y="1556"/>
                  </a:cubicBezTo>
                  <a:cubicBezTo>
                    <a:pt x="6765" y="1574"/>
                    <a:pt x="6760" y="1585"/>
                    <a:pt x="6760" y="1596"/>
                  </a:cubicBezTo>
                  <a:cubicBezTo>
                    <a:pt x="6760" y="1625"/>
                    <a:pt x="6760" y="1642"/>
                    <a:pt x="6765" y="1670"/>
                  </a:cubicBezTo>
                  <a:cubicBezTo>
                    <a:pt x="6777" y="1710"/>
                    <a:pt x="6816" y="1767"/>
                    <a:pt x="6839" y="1801"/>
                  </a:cubicBezTo>
                  <a:cubicBezTo>
                    <a:pt x="6868" y="1846"/>
                    <a:pt x="6970" y="2028"/>
                    <a:pt x="7021" y="1999"/>
                  </a:cubicBezTo>
                  <a:cubicBezTo>
                    <a:pt x="7055" y="1988"/>
                    <a:pt x="7061" y="2005"/>
                    <a:pt x="7095" y="1999"/>
                  </a:cubicBezTo>
                  <a:cubicBezTo>
                    <a:pt x="7220" y="2107"/>
                    <a:pt x="7220" y="2107"/>
                    <a:pt x="7220" y="2107"/>
                  </a:cubicBezTo>
                  <a:lnTo>
                    <a:pt x="7220" y="2107"/>
                  </a:lnTo>
                  <a:cubicBezTo>
                    <a:pt x="7203" y="2119"/>
                    <a:pt x="7180" y="2136"/>
                    <a:pt x="7163" y="2147"/>
                  </a:cubicBezTo>
                  <a:cubicBezTo>
                    <a:pt x="7118" y="2227"/>
                    <a:pt x="7021" y="2295"/>
                    <a:pt x="6998" y="2386"/>
                  </a:cubicBezTo>
                  <a:cubicBezTo>
                    <a:pt x="6976" y="2477"/>
                    <a:pt x="6970" y="2562"/>
                    <a:pt x="6913" y="2636"/>
                  </a:cubicBezTo>
                  <a:cubicBezTo>
                    <a:pt x="6902" y="2676"/>
                    <a:pt x="6924" y="2727"/>
                    <a:pt x="6885" y="2766"/>
                  </a:cubicBezTo>
                  <a:cubicBezTo>
                    <a:pt x="6845" y="2806"/>
                    <a:pt x="6782" y="2812"/>
                    <a:pt x="6765" y="2874"/>
                  </a:cubicBezTo>
                  <a:cubicBezTo>
                    <a:pt x="6754" y="2926"/>
                    <a:pt x="6782" y="2914"/>
                    <a:pt x="6737" y="2937"/>
                  </a:cubicBezTo>
                  <a:cubicBezTo>
                    <a:pt x="6686" y="2965"/>
                    <a:pt x="6714" y="3011"/>
                    <a:pt x="6669" y="3034"/>
                  </a:cubicBezTo>
                  <a:cubicBezTo>
                    <a:pt x="6635" y="3051"/>
                    <a:pt x="6578" y="3130"/>
                    <a:pt x="6527" y="3107"/>
                  </a:cubicBezTo>
                  <a:cubicBezTo>
                    <a:pt x="6521" y="3102"/>
                    <a:pt x="6487" y="3051"/>
                    <a:pt x="6481" y="3039"/>
                  </a:cubicBezTo>
                  <a:cubicBezTo>
                    <a:pt x="6458" y="3005"/>
                    <a:pt x="6419" y="2948"/>
                    <a:pt x="6373" y="2943"/>
                  </a:cubicBezTo>
                  <a:cubicBezTo>
                    <a:pt x="6339" y="2926"/>
                    <a:pt x="6311" y="2931"/>
                    <a:pt x="6282" y="2960"/>
                  </a:cubicBezTo>
                  <a:cubicBezTo>
                    <a:pt x="6243" y="2988"/>
                    <a:pt x="6237" y="2960"/>
                    <a:pt x="6214" y="2937"/>
                  </a:cubicBezTo>
                  <a:cubicBezTo>
                    <a:pt x="6169" y="2897"/>
                    <a:pt x="6044" y="2994"/>
                    <a:pt x="6032" y="3039"/>
                  </a:cubicBezTo>
                  <a:cubicBezTo>
                    <a:pt x="6015" y="3107"/>
                    <a:pt x="5987" y="3124"/>
                    <a:pt x="5924" y="3158"/>
                  </a:cubicBezTo>
                  <a:cubicBezTo>
                    <a:pt x="5902" y="3170"/>
                    <a:pt x="5851" y="3153"/>
                    <a:pt x="5839" y="3164"/>
                  </a:cubicBezTo>
                  <a:cubicBezTo>
                    <a:pt x="5805" y="3176"/>
                    <a:pt x="5799" y="3142"/>
                    <a:pt x="5782" y="3130"/>
                  </a:cubicBezTo>
                  <a:cubicBezTo>
                    <a:pt x="5754" y="3107"/>
                    <a:pt x="5748" y="3147"/>
                    <a:pt x="5726" y="3147"/>
                  </a:cubicBezTo>
                  <a:cubicBezTo>
                    <a:pt x="5714" y="3147"/>
                    <a:pt x="5703" y="3130"/>
                    <a:pt x="5697" y="3119"/>
                  </a:cubicBezTo>
                  <a:cubicBezTo>
                    <a:pt x="5663" y="3107"/>
                    <a:pt x="5669" y="3062"/>
                    <a:pt x="5623" y="3062"/>
                  </a:cubicBezTo>
                  <a:cubicBezTo>
                    <a:pt x="5584" y="3062"/>
                    <a:pt x="5549" y="3090"/>
                    <a:pt x="5504" y="3073"/>
                  </a:cubicBezTo>
                  <a:cubicBezTo>
                    <a:pt x="5425" y="3045"/>
                    <a:pt x="5345" y="3090"/>
                    <a:pt x="5265" y="3062"/>
                  </a:cubicBezTo>
                  <a:cubicBezTo>
                    <a:pt x="5214" y="3045"/>
                    <a:pt x="5197" y="3085"/>
                    <a:pt x="5152" y="3073"/>
                  </a:cubicBezTo>
                  <a:cubicBezTo>
                    <a:pt x="5118" y="3068"/>
                    <a:pt x="5118" y="3102"/>
                    <a:pt x="5089" y="3107"/>
                  </a:cubicBezTo>
                  <a:cubicBezTo>
                    <a:pt x="5049" y="3124"/>
                    <a:pt x="4959" y="3193"/>
                    <a:pt x="4919" y="3124"/>
                  </a:cubicBezTo>
                  <a:cubicBezTo>
                    <a:pt x="4885" y="3090"/>
                    <a:pt x="4856" y="3130"/>
                    <a:pt x="4817" y="3090"/>
                  </a:cubicBezTo>
                  <a:cubicBezTo>
                    <a:pt x="4783" y="3062"/>
                    <a:pt x="4748" y="3090"/>
                    <a:pt x="4714" y="3096"/>
                  </a:cubicBezTo>
                  <a:cubicBezTo>
                    <a:pt x="4641" y="3107"/>
                    <a:pt x="4641" y="3107"/>
                    <a:pt x="4641" y="3107"/>
                  </a:cubicBezTo>
                  <a:cubicBezTo>
                    <a:pt x="4602" y="3113"/>
                    <a:pt x="4573" y="3073"/>
                    <a:pt x="4534" y="3068"/>
                  </a:cubicBezTo>
                  <a:cubicBezTo>
                    <a:pt x="4471" y="3056"/>
                    <a:pt x="4414" y="3102"/>
                    <a:pt x="4357" y="3102"/>
                  </a:cubicBezTo>
                  <a:cubicBezTo>
                    <a:pt x="4335" y="3102"/>
                    <a:pt x="4295" y="3073"/>
                    <a:pt x="4266" y="3068"/>
                  </a:cubicBezTo>
                  <a:cubicBezTo>
                    <a:pt x="4210" y="3056"/>
                    <a:pt x="4215" y="3102"/>
                    <a:pt x="4176" y="3102"/>
                  </a:cubicBezTo>
                  <a:cubicBezTo>
                    <a:pt x="4113" y="3113"/>
                    <a:pt x="4045" y="3130"/>
                    <a:pt x="3982" y="3119"/>
                  </a:cubicBezTo>
                  <a:cubicBezTo>
                    <a:pt x="3840" y="3102"/>
                    <a:pt x="3840" y="3102"/>
                    <a:pt x="3840" y="3102"/>
                  </a:cubicBezTo>
                  <a:cubicBezTo>
                    <a:pt x="3812" y="3096"/>
                    <a:pt x="3704" y="3278"/>
                    <a:pt x="3676" y="3306"/>
                  </a:cubicBezTo>
                  <a:cubicBezTo>
                    <a:pt x="3641" y="3340"/>
                    <a:pt x="3579" y="3318"/>
                    <a:pt x="3562" y="3386"/>
                  </a:cubicBezTo>
                  <a:cubicBezTo>
                    <a:pt x="3528" y="3437"/>
                    <a:pt x="3562" y="3431"/>
                    <a:pt x="3499" y="3437"/>
                  </a:cubicBezTo>
                  <a:cubicBezTo>
                    <a:pt x="3465" y="3437"/>
                    <a:pt x="3460" y="3482"/>
                    <a:pt x="3403" y="3471"/>
                  </a:cubicBezTo>
                  <a:cubicBezTo>
                    <a:pt x="3301" y="3454"/>
                    <a:pt x="3255" y="3408"/>
                    <a:pt x="3147" y="3465"/>
                  </a:cubicBezTo>
                  <a:cubicBezTo>
                    <a:pt x="3102" y="3494"/>
                    <a:pt x="3062" y="3511"/>
                    <a:pt x="3011" y="3522"/>
                  </a:cubicBezTo>
                  <a:cubicBezTo>
                    <a:pt x="2988" y="3522"/>
                    <a:pt x="2965" y="3539"/>
                    <a:pt x="2943" y="3551"/>
                  </a:cubicBezTo>
                  <a:cubicBezTo>
                    <a:pt x="2920" y="3562"/>
                    <a:pt x="2869" y="3562"/>
                    <a:pt x="2857" y="3585"/>
                  </a:cubicBezTo>
                  <a:cubicBezTo>
                    <a:pt x="2835" y="3624"/>
                    <a:pt x="2795" y="3636"/>
                    <a:pt x="2795" y="3687"/>
                  </a:cubicBezTo>
                  <a:cubicBezTo>
                    <a:pt x="2795" y="3727"/>
                    <a:pt x="2789" y="3721"/>
                    <a:pt x="2767" y="3744"/>
                  </a:cubicBezTo>
                  <a:cubicBezTo>
                    <a:pt x="2755" y="3755"/>
                    <a:pt x="2755" y="3772"/>
                    <a:pt x="2749" y="3783"/>
                  </a:cubicBezTo>
                  <a:cubicBezTo>
                    <a:pt x="2744" y="3801"/>
                    <a:pt x="2727" y="3812"/>
                    <a:pt x="2715" y="3829"/>
                  </a:cubicBezTo>
                  <a:cubicBezTo>
                    <a:pt x="2704" y="3840"/>
                    <a:pt x="2710" y="3869"/>
                    <a:pt x="2693" y="3880"/>
                  </a:cubicBezTo>
                  <a:cubicBezTo>
                    <a:pt x="2681" y="3891"/>
                    <a:pt x="2681" y="3925"/>
                    <a:pt x="2681" y="3954"/>
                  </a:cubicBezTo>
                  <a:lnTo>
                    <a:pt x="2681" y="3954"/>
                  </a:lnTo>
                  <a:cubicBezTo>
                    <a:pt x="2636" y="3960"/>
                    <a:pt x="2636" y="3960"/>
                    <a:pt x="2636" y="3960"/>
                  </a:cubicBezTo>
                  <a:lnTo>
                    <a:pt x="2636" y="3960"/>
                  </a:lnTo>
                  <a:cubicBezTo>
                    <a:pt x="2625" y="3943"/>
                    <a:pt x="2607" y="3931"/>
                    <a:pt x="2585" y="3925"/>
                  </a:cubicBezTo>
                  <a:cubicBezTo>
                    <a:pt x="2545" y="3925"/>
                    <a:pt x="2534" y="4033"/>
                    <a:pt x="2551" y="4056"/>
                  </a:cubicBezTo>
                  <a:cubicBezTo>
                    <a:pt x="2579" y="4102"/>
                    <a:pt x="2528" y="4130"/>
                    <a:pt x="2494" y="4136"/>
                  </a:cubicBezTo>
                  <a:cubicBezTo>
                    <a:pt x="2460" y="4141"/>
                    <a:pt x="2448" y="4158"/>
                    <a:pt x="2420" y="4170"/>
                  </a:cubicBezTo>
                  <a:cubicBezTo>
                    <a:pt x="2352" y="4215"/>
                    <a:pt x="2340" y="4147"/>
                    <a:pt x="2284" y="4136"/>
                  </a:cubicBezTo>
                  <a:cubicBezTo>
                    <a:pt x="2267" y="4124"/>
                    <a:pt x="2261" y="4107"/>
                    <a:pt x="2232" y="4113"/>
                  </a:cubicBezTo>
                  <a:cubicBezTo>
                    <a:pt x="2216" y="4119"/>
                    <a:pt x="2204" y="4113"/>
                    <a:pt x="2187" y="4096"/>
                  </a:cubicBezTo>
                  <a:cubicBezTo>
                    <a:pt x="2153" y="4073"/>
                    <a:pt x="2125" y="4090"/>
                    <a:pt x="2090" y="4051"/>
                  </a:cubicBezTo>
                  <a:cubicBezTo>
                    <a:pt x="2045" y="4005"/>
                    <a:pt x="2017" y="3897"/>
                    <a:pt x="1931" y="3925"/>
                  </a:cubicBezTo>
                  <a:cubicBezTo>
                    <a:pt x="1897" y="3937"/>
                    <a:pt x="1829" y="3925"/>
                    <a:pt x="1806" y="3903"/>
                  </a:cubicBezTo>
                  <a:cubicBezTo>
                    <a:pt x="1789" y="3886"/>
                    <a:pt x="1727" y="3778"/>
                    <a:pt x="1721" y="3755"/>
                  </a:cubicBezTo>
                  <a:cubicBezTo>
                    <a:pt x="1710" y="3755"/>
                    <a:pt x="1698" y="3761"/>
                    <a:pt x="1687" y="3761"/>
                  </a:cubicBezTo>
                  <a:cubicBezTo>
                    <a:pt x="1687" y="3749"/>
                    <a:pt x="1670" y="3715"/>
                    <a:pt x="1659" y="3698"/>
                  </a:cubicBezTo>
                  <a:cubicBezTo>
                    <a:pt x="1636" y="3653"/>
                    <a:pt x="1636" y="3653"/>
                    <a:pt x="1636" y="3653"/>
                  </a:cubicBezTo>
                  <a:cubicBezTo>
                    <a:pt x="1625" y="3624"/>
                    <a:pt x="1602" y="3602"/>
                    <a:pt x="1590" y="3573"/>
                  </a:cubicBezTo>
                  <a:cubicBezTo>
                    <a:pt x="1568" y="3511"/>
                    <a:pt x="1528" y="3460"/>
                    <a:pt x="1505" y="3397"/>
                  </a:cubicBezTo>
                  <a:cubicBezTo>
                    <a:pt x="1494" y="3363"/>
                    <a:pt x="1539" y="3420"/>
                    <a:pt x="1551" y="3420"/>
                  </a:cubicBezTo>
                  <a:cubicBezTo>
                    <a:pt x="1568" y="3420"/>
                    <a:pt x="1579" y="3403"/>
                    <a:pt x="1585" y="3386"/>
                  </a:cubicBezTo>
                  <a:cubicBezTo>
                    <a:pt x="1608" y="3363"/>
                    <a:pt x="1596" y="3329"/>
                    <a:pt x="1562" y="3318"/>
                  </a:cubicBezTo>
                  <a:cubicBezTo>
                    <a:pt x="1511" y="3306"/>
                    <a:pt x="1534" y="3284"/>
                    <a:pt x="1494" y="3266"/>
                  </a:cubicBezTo>
                  <a:cubicBezTo>
                    <a:pt x="1466" y="3249"/>
                    <a:pt x="1437" y="3249"/>
                    <a:pt x="1409" y="3249"/>
                  </a:cubicBezTo>
                  <a:cubicBezTo>
                    <a:pt x="1369" y="3244"/>
                    <a:pt x="1392" y="3204"/>
                    <a:pt x="1380" y="3181"/>
                  </a:cubicBezTo>
                  <a:cubicBezTo>
                    <a:pt x="1363" y="3147"/>
                    <a:pt x="1312" y="3090"/>
                    <a:pt x="1352" y="3073"/>
                  </a:cubicBezTo>
                  <a:cubicBezTo>
                    <a:pt x="1375" y="3062"/>
                    <a:pt x="1392" y="3045"/>
                    <a:pt x="1409" y="3028"/>
                  </a:cubicBezTo>
                  <a:cubicBezTo>
                    <a:pt x="1426" y="3005"/>
                    <a:pt x="1397" y="2999"/>
                    <a:pt x="1386" y="2982"/>
                  </a:cubicBezTo>
                  <a:cubicBezTo>
                    <a:pt x="1375" y="2960"/>
                    <a:pt x="1358" y="2937"/>
                    <a:pt x="1352" y="2914"/>
                  </a:cubicBezTo>
                  <a:cubicBezTo>
                    <a:pt x="1329" y="2852"/>
                    <a:pt x="1329" y="2852"/>
                    <a:pt x="1329" y="2852"/>
                  </a:cubicBezTo>
                  <a:cubicBezTo>
                    <a:pt x="1301" y="2795"/>
                    <a:pt x="1301" y="2795"/>
                    <a:pt x="1301" y="2795"/>
                  </a:cubicBezTo>
                  <a:cubicBezTo>
                    <a:pt x="1272" y="2755"/>
                    <a:pt x="1244" y="2727"/>
                    <a:pt x="1204" y="2698"/>
                  </a:cubicBezTo>
                  <a:cubicBezTo>
                    <a:pt x="1119" y="2636"/>
                    <a:pt x="1028" y="2568"/>
                    <a:pt x="937" y="2528"/>
                  </a:cubicBezTo>
                  <a:cubicBezTo>
                    <a:pt x="892" y="2511"/>
                    <a:pt x="812" y="2454"/>
                    <a:pt x="772" y="2454"/>
                  </a:cubicBezTo>
                  <a:cubicBezTo>
                    <a:pt x="687" y="2431"/>
                    <a:pt x="625" y="2369"/>
                    <a:pt x="534" y="2363"/>
                  </a:cubicBezTo>
                  <a:cubicBezTo>
                    <a:pt x="443" y="2352"/>
                    <a:pt x="352" y="2369"/>
                    <a:pt x="261" y="2386"/>
                  </a:cubicBezTo>
                  <a:cubicBezTo>
                    <a:pt x="233" y="2397"/>
                    <a:pt x="187" y="2426"/>
                    <a:pt x="147" y="2431"/>
                  </a:cubicBezTo>
                  <a:lnTo>
                    <a:pt x="147" y="2431"/>
                  </a:lnTo>
                  <a:cubicBezTo>
                    <a:pt x="142" y="2414"/>
                    <a:pt x="136" y="2392"/>
                    <a:pt x="136" y="2375"/>
                  </a:cubicBezTo>
                  <a:cubicBezTo>
                    <a:pt x="136" y="2369"/>
                    <a:pt x="136" y="2363"/>
                    <a:pt x="136" y="2357"/>
                  </a:cubicBezTo>
                  <a:cubicBezTo>
                    <a:pt x="130" y="2352"/>
                    <a:pt x="119" y="2329"/>
                    <a:pt x="113" y="2323"/>
                  </a:cubicBezTo>
                  <a:cubicBezTo>
                    <a:pt x="102" y="2306"/>
                    <a:pt x="119" y="2272"/>
                    <a:pt x="119" y="2249"/>
                  </a:cubicBezTo>
                  <a:cubicBezTo>
                    <a:pt x="119" y="2215"/>
                    <a:pt x="96" y="2187"/>
                    <a:pt x="96" y="2153"/>
                  </a:cubicBezTo>
                  <a:cubicBezTo>
                    <a:pt x="96" y="2130"/>
                    <a:pt x="108" y="2113"/>
                    <a:pt x="102" y="2090"/>
                  </a:cubicBezTo>
                  <a:cubicBezTo>
                    <a:pt x="96" y="2068"/>
                    <a:pt x="73" y="2073"/>
                    <a:pt x="79" y="2045"/>
                  </a:cubicBezTo>
                  <a:cubicBezTo>
                    <a:pt x="85" y="2022"/>
                    <a:pt x="79" y="2005"/>
                    <a:pt x="73" y="1983"/>
                  </a:cubicBezTo>
                  <a:cubicBezTo>
                    <a:pt x="68" y="1954"/>
                    <a:pt x="68" y="1937"/>
                    <a:pt x="51" y="1914"/>
                  </a:cubicBezTo>
                  <a:cubicBezTo>
                    <a:pt x="39" y="1903"/>
                    <a:pt x="11" y="1869"/>
                    <a:pt x="0" y="1857"/>
                  </a:cubicBezTo>
                  <a:cubicBezTo>
                    <a:pt x="5" y="1840"/>
                    <a:pt x="11" y="1806"/>
                    <a:pt x="22" y="1795"/>
                  </a:cubicBezTo>
                  <a:cubicBezTo>
                    <a:pt x="22" y="1789"/>
                    <a:pt x="28" y="1778"/>
                    <a:pt x="28" y="1767"/>
                  </a:cubicBezTo>
                  <a:cubicBezTo>
                    <a:pt x="17" y="1733"/>
                    <a:pt x="45" y="1744"/>
                    <a:pt x="57" y="1721"/>
                  </a:cubicBezTo>
                  <a:cubicBezTo>
                    <a:pt x="62" y="1704"/>
                    <a:pt x="73" y="1687"/>
                    <a:pt x="79" y="1676"/>
                  </a:cubicBezTo>
                  <a:cubicBezTo>
                    <a:pt x="91" y="1659"/>
                    <a:pt x="96" y="1630"/>
                    <a:pt x="91" y="1608"/>
                  </a:cubicBezTo>
                  <a:cubicBezTo>
                    <a:pt x="96" y="1579"/>
                    <a:pt x="136" y="1556"/>
                    <a:pt x="130" y="1528"/>
                  </a:cubicBezTo>
                  <a:cubicBezTo>
                    <a:pt x="119" y="1494"/>
                    <a:pt x="153" y="1505"/>
                    <a:pt x="164" y="1488"/>
                  </a:cubicBezTo>
                  <a:cubicBezTo>
                    <a:pt x="176" y="1477"/>
                    <a:pt x="187" y="1466"/>
                    <a:pt x="199" y="1454"/>
                  </a:cubicBezTo>
                  <a:cubicBezTo>
                    <a:pt x="250" y="1414"/>
                    <a:pt x="295" y="1375"/>
                    <a:pt x="289" y="1306"/>
                  </a:cubicBezTo>
                  <a:cubicBezTo>
                    <a:pt x="289" y="1284"/>
                    <a:pt x="341" y="1233"/>
                    <a:pt x="335" y="1193"/>
                  </a:cubicBezTo>
                  <a:cubicBezTo>
                    <a:pt x="329" y="1170"/>
                    <a:pt x="312" y="1159"/>
                    <a:pt x="346" y="1153"/>
                  </a:cubicBezTo>
                  <a:cubicBezTo>
                    <a:pt x="369" y="1147"/>
                    <a:pt x="403" y="1130"/>
                    <a:pt x="414" y="1136"/>
                  </a:cubicBezTo>
                  <a:cubicBezTo>
                    <a:pt x="431" y="1147"/>
                    <a:pt x="494" y="1142"/>
                    <a:pt x="483" y="1113"/>
                  </a:cubicBezTo>
                  <a:cubicBezTo>
                    <a:pt x="488" y="1090"/>
                    <a:pt x="483" y="1079"/>
                    <a:pt x="511" y="1074"/>
                  </a:cubicBezTo>
                  <a:cubicBezTo>
                    <a:pt x="522" y="1074"/>
                    <a:pt x="551" y="1085"/>
                    <a:pt x="562" y="1096"/>
                  </a:cubicBezTo>
                  <a:cubicBezTo>
                    <a:pt x="573" y="1102"/>
                    <a:pt x="573" y="1119"/>
                    <a:pt x="596" y="1113"/>
                  </a:cubicBezTo>
                  <a:cubicBezTo>
                    <a:pt x="647" y="1096"/>
                    <a:pt x="653" y="1051"/>
                    <a:pt x="653" y="994"/>
                  </a:cubicBezTo>
                  <a:cubicBezTo>
                    <a:pt x="653" y="971"/>
                    <a:pt x="664" y="977"/>
                    <a:pt x="676" y="966"/>
                  </a:cubicBezTo>
                  <a:cubicBezTo>
                    <a:pt x="698" y="931"/>
                    <a:pt x="676" y="892"/>
                    <a:pt x="687" y="869"/>
                  </a:cubicBezTo>
                  <a:cubicBezTo>
                    <a:pt x="693" y="858"/>
                    <a:pt x="727" y="824"/>
                    <a:pt x="721" y="818"/>
                  </a:cubicBezTo>
                  <a:lnTo>
                    <a:pt x="721" y="818"/>
                  </a:lnTo>
                  <a:cubicBezTo>
                    <a:pt x="772" y="829"/>
                    <a:pt x="772" y="829"/>
                    <a:pt x="772" y="829"/>
                  </a:cubicBezTo>
                  <a:cubicBezTo>
                    <a:pt x="795" y="858"/>
                    <a:pt x="829" y="863"/>
                    <a:pt x="863" y="863"/>
                  </a:cubicBezTo>
                  <a:cubicBezTo>
                    <a:pt x="943" y="869"/>
                    <a:pt x="829" y="914"/>
                    <a:pt x="869" y="960"/>
                  </a:cubicBezTo>
                  <a:cubicBezTo>
                    <a:pt x="880" y="971"/>
                    <a:pt x="903" y="954"/>
                    <a:pt x="920" y="966"/>
                  </a:cubicBezTo>
                  <a:cubicBezTo>
                    <a:pt x="960" y="1005"/>
                    <a:pt x="948" y="994"/>
                    <a:pt x="1011" y="994"/>
                  </a:cubicBezTo>
                  <a:cubicBezTo>
                    <a:pt x="1034" y="994"/>
                    <a:pt x="1068" y="977"/>
                    <a:pt x="1090" y="983"/>
                  </a:cubicBezTo>
                  <a:cubicBezTo>
                    <a:pt x="1102" y="988"/>
                    <a:pt x="1147" y="1028"/>
                    <a:pt x="1147" y="1045"/>
                  </a:cubicBezTo>
                  <a:cubicBezTo>
                    <a:pt x="1147" y="1113"/>
                    <a:pt x="1153" y="1085"/>
                    <a:pt x="1204" y="1096"/>
                  </a:cubicBezTo>
                  <a:cubicBezTo>
                    <a:pt x="1216" y="1102"/>
                    <a:pt x="1284" y="1130"/>
                    <a:pt x="1284" y="1125"/>
                  </a:cubicBezTo>
                  <a:cubicBezTo>
                    <a:pt x="1306" y="1074"/>
                    <a:pt x="1306" y="1074"/>
                    <a:pt x="1306" y="1074"/>
                  </a:cubicBezTo>
                  <a:cubicBezTo>
                    <a:pt x="1318" y="1051"/>
                    <a:pt x="1306" y="1028"/>
                    <a:pt x="1340" y="1051"/>
                  </a:cubicBezTo>
                  <a:cubicBezTo>
                    <a:pt x="1386" y="1079"/>
                    <a:pt x="1403" y="1039"/>
                    <a:pt x="1420" y="1108"/>
                  </a:cubicBezTo>
                  <a:cubicBezTo>
                    <a:pt x="1420" y="1125"/>
                    <a:pt x="1466" y="1170"/>
                    <a:pt x="1482" y="1176"/>
                  </a:cubicBezTo>
                  <a:cubicBezTo>
                    <a:pt x="1505" y="1181"/>
                    <a:pt x="1528" y="1170"/>
                    <a:pt x="1551" y="1187"/>
                  </a:cubicBezTo>
                  <a:cubicBezTo>
                    <a:pt x="1568" y="1198"/>
                    <a:pt x="1579" y="1198"/>
                    <a:pt x="1602" y="1198"/>
                  </a:cubicBezTo>
                  <a:cubicBezTo>
                    <a:pt x="1625" y="1198"/>
                    <a:pt x="1630" y="1233"/>
                    <a:pt x="1653" y="1221"/>
                  </a:cubicBezTo>
                  <a:cubicBezTo>
                    <a:pt x="1681" y="1210"/>
                    <a:pt x="1710" y="1176"/>
                    <a:pt x="1744" y="1164"/>
                  </a:cubicBezTo>
                  <a:cubicBezTo>
                    <a:pt x="1789" y="1153"/>
                    <a:pt x="1840" y="1153"/>
                    <a:pt x="1886" y="1142"/>
                  </a:cubicBezTo>
                  <a:cubicBezTo>
                    <a:pt x="1943" y="1119"/>
                    <a:pt x="1914" y="1108"/>
                    <a:pt x="1948" y="1074"/>
                  </a:cubicBezTo>
                  <a:cubicBezTo>
                    <a:pt x="1994" y="1028"/>
                    <a:pt x="1937" y="1011"/>
                    <a:pt x="1954" y="983"/>
                  </a:cubicBezTo>
                  <a:cubicBezTo>
                    <a:pt x="1971" y="954"/>
                    <a:pt x="2005" y="943"/>
                    <a:pt x="2017" y="914"/>
                  </a:cubicBezTo>
                  <a:cubicBezTo>
                    <a:pt x="2028" y="863"/>
                    <a:pt x="2108" y="875"/>
                    <a:pt x="2142" y="858"/>
                  </a:cubicBezTo>
                  <a:cubicBezTo>
                    <a:pt x="2238" y="801"/>
                    <a:pt x="2272" y="909"/>
                    <a:pt x="2193" y="920"/>
                  </a:cubicBezTo>
                  <a:cubicBezTo>
                    <a:pt x="2164" y="926"/>
                    <a:pt x="2193" y="1000"/>
                    <a:pt x="2210" y="1011"/>
                  </a:cubicBezTo>
                  <a:cubicBezTo>
                    <a:pt x="2244" y="1028"/>
                    <a:pt x="2295" y="943"/>
                    <a:pt x="2329" y="931"/>
                  </a:cubicBezTo>
                  <a:cubicBezTo>
                    <a:pt x="2346" y="931"/>
                    <a:pt x="2357" y="931"/>
                    <a:pt x="2375" y="931"/>
                  </a:cubicBezTo>
                  <a:cubicBezTo>
                    <a:pt x="2386" y="926"/>
                    <a:pt x="2420" y="897"/>
                    <a:pt x="2426" y="886"/>
                  </a:cubicBezTo>
                  <a:cubicBezTo>
                    <a:pt x="2431" y="869"/>
                    <a:pt x="2426" y="863"/>
                    <a:pt x="2426" y="846"/>
                  </a:cubicBezTo>
                  <a:cubicBezTo>
                    <a:pt x="2426" y="829"/>
                    <a:pt x="2448" y="818"/>
                    <a:pt x="2454" y="789"/>
                  </a:cubicBezTo>
                  <a:cubicBezTo>
                    <a:pt x="2454" y="738"/>
                    <a:pt x="2420" y="710"/>
                    <a:pt x="2420" y="670"/>
                  </a:cubicBezTo>
                  <a:cubicBezTo>
                    <a:pt x="2420" y="647"/>
                    <a:pt x="2409" y="647"/>
                    <a:pt x="2397" y="636"/>
                  </a:cubicBezTo>
                  <a:cubicBezTo>
                    <a:pt x="2380" y="625"/>
                    <a:pt x="2403" y="585"/>
                    <a:pt x="2397" y="568"/>
                  </a:cubicBezTo>
                  <a:cubicBezTo>
                    <a:pt x="2397" y="551"/>
                    <a:pt x="2380" y="545"/>
                    <a:pt x="2380" y="528"/>
                  </a:cubicBezTo>
                  <a:cubicBezTo>
                    <a:pt x="2380" y="505"/>
                    <a:pt x="2397" y="460"/>
                    <a:pt x="2414" y="443"/>
                  </a:cubicBezTo>
                  <a:cubicBezTo>
                    <a:pt x="2443" y="409"/>
                    <a:pt x="2477" y="449"/>
                    <a:pt x="2499" y="415"/>
                  </a:cubicBezTo>
                  <a:cubicBezTo>
                    <a:pt x="2522" y="392"/>
                    <a:pt x="2517" y="369"/>
                    <a:pt x="2551" y="346"/>
                  </a:cubicBezTo>
                  <a:cubicBezTo>
                    <a:pt x="2579" y="329"/>
                    <a:pt x="2630" y="216"/>
                    <a:pt x="2653" y="221"/>
                  </a:cubicBezTo>
                  <a:cubicBezTo>
                    <a:pt x="2710" y="238"/>
                    <a:pt x="2704" y="210"/>
                    <a:pt x="2749" y="176"/>
                  </a:cubicBezTo>
                  <a:cubicBezTo>
                    <a:pt x="2778" y="159"/>
                    <a:pt x="2801" y="119"/>
                    <a:pt x="2829" y="108"/>
                  </a:cubicBezTo>
                  <a:cubicBezTo>
                    <a:pt x="2846" y="96"/>
                    <a:pt x="2875" y="108"/>
                    <a:pt x="2875" y="74"/>
                  </a:cubicBezTo>
                  <a:cubicBezTo>
                    <a:pt x="2875" y="5"/>
                    <a:pt x="2863" y="28"/>
                    <a:pt x="2920" y="17"/>
                  </a:cubicBezTo>
                  <a:cubicBezTo>
                    <a:pt x="2971" y="11"/>
                    <a:pt x="2960" y="45"/>
                    <a:pt x="3022" y="5"/>
                  </a:cubicBezTo>
                  <a:cubicBezTo>
                    <a:pt x="3073" y="0"/>
                    <a:pt x="3073" y="0"/>
                    <a:pt x="307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2" name="Freeform 163"/>
            <p:cNvSpPr>
              <a:spLocks noChangeArrowheads="1"/>
            </p:cNvSpPr>
            <p:nvPr/>
          </p:nvSpPr>
          <p:spPr bwMode="auto">
            <a:xfrm>
              <a:off x="20634696" y="7231882"/>
              <a:ext cx="2638446" cy="1586221"/>
            </a:xfrm>
            <a:custGeom>
              <a:avLst/>
              <a:gdLst>
                <a:gd name="T0" fmla="*/ 3528 w 3813"/>
                <a:gd name="T1" fmla="*/ 6 h 2295"/>
                <a:gd name="T2" fmla="*/ 3210 w 3813"/>
                <a:gd name="T3" fmla="*/ 62 h 2295"/>
                <a:gd name="T4" fmla="*/ 3216 w 3813"/>
                <a:gd name="T5" fmla="*/ 142 h 2295"/>
                <a:gd name="T6" fmla="*/ 3312 w 3813"/>
                <a:gd name="T7" fmla="*/ 267 h 2295"/>
                <a:gd name="T8" fmla="*/ 3653 w 3813"/>
                <a:gd name="T9" fmla="*/ 392 h 2295"/>
                <a:gd name="T10" fmla="*/ 3750 w 3813"/>
                <a:gd name="T11" fmla="*/ 136 h 2295"/>
                <a:gd name="T12" fmla="*/ 3580 w 3813"/>
                <a:gd name="T13" fmla="*/ 45 h 2295"/>
                <a:gd name="T14" fmla="*/ 3528 w 3813"/>
                <a:gd name="T15" fmla="*/ 6 h 2295"/>
                <a:gd name="T16" fmla="*/ 1784 w 3813"/>
                <a:gd name="T17" fmla="*/ 494 h 2295"/>
                <a:gd name="T18" fmla="*/ 1637 w 3813"/>
                <a:gd name="T19" fmla="*/ 619 h 2295"/>
                <a:gd name="T20" fmla="*/ 1443 w 3813"/>
                <a:gd name="T21" fmla="*/ 761 h 2295"/>
                <a:gd name="T22" fmla="*/ 1477 w 3813"/>
                <a:gd name="T23" fmla="*/ 897 h 2295"/>
                <a:gd name="T24" fmla="*/ 1534 w 3813"/>
                <a:gd name="T25" fmla="*/ 936 h 2295"/>
                <a:gd name="T26" fmla="*/ 1676 w 3813"/>
                <a:gd name="T27" fmla="*/ 885 h 2295"/>
                <a:gd name="T28" fmla="*/ 1722 w 3813"/>
                <a:gd name="T29" fmla="*/ 857 h 2295"/>
                <a:gd name="T30" fmla="*/ 1761 w 3813"/>
                <a:gd name="T31" fmla="*/ 829 h 2295"/>
                <a:gd name="T32" fmla="*/ 1869 w 3813"/>
                <a:gd name="T33" fmla="*/ 982 h 2295"/>
                <a:gd name="T34" fmla="*/ 1938 w 3813"/>
                <a:gd name="T35" fmla="*/ 1141 h 2295"/>
                <a:gd name="T36" fmla="*/ 2102 w 3813"/>
                <a:gd name="T37" fmla="*/ 1158 h 2295"/>
                <a:gd name="T38" fmla="*/ 2199 w 3813"/>
                <a:gd name="T39" fmla="*/ 1226 h 2295"/>
                <a:gd name="T40" fmla="*/ 2364 w 3813"/>
                <a:gd name="T41" fmla="*/ 1237 h 2295"/>
                <a:gd name="T42" fmla="*/ 2466 w 3813"/>
                <a:gd name="T43" fmla="*/ 1164 h 2295"/>
                <a:gd name="T44" fmla="*/ 2625 w 3813"/>
                <a:gd name="T45" fmla="*/ 874 h 2295"/>
                <a:gd name="T46" fmla="*/ 2693 w 3813"/>
                <a:gd name="T47" fmla="*/ 761 h 2295"/>
                <a:gd name="T48" fmla="*/ 2779 w 3813"/>
                <a:gd name="T49" fmla="*/ 574 h 2295"/>
                <a:gd name="T50" fmla="*/ 2563 w 3813"/>
                <a:gd name="T51" fmla="*/ 551 h 2295"/>
                <a:gd name="T52" fmla="*/ 2369 w 3813"/>
                <a:gd name="T53" fmla="*/ 460 h 2295"/>
                <a:gd name="T54" fmla="*/ 2432 w 3813"/>
                <a:gd name="T55" fmla="*/ 363 h 2295"/>
                <a:gd name="T56" fmla="*/ 2364 w 3813"/>
                <a:gd name="T57" fmla="*/ 352 h 2295"/>
                <a:gd name="T58" fmla="*/ 2392 w 3813"/>
                <a:gd name="T59" fmla="*/ 261 h 2295"/>
                <a:gd name="T60" fmla="*/ 2375 w 3813"/>
                <a:gd name="T61" fmla="*/ 221 h 2295"/>
                <a:gd name="T62" fmla="*/ 2199 w 3813"/>
                <a:gd name="T63" fmla="*/ 278 h 2295"/>
                <a:gd name="T64" fmla="*/ 2046 w 3813"/>
                <a:gd name="T65" fmla="*/ 329 h 2295"/>
                <a:gd name="T66" fmla="*/ 1932 w 3813"/>
                <a:gd name="T67" fmla="*/ 381 h 2295"/>
                <a:gd name="T68" fmla="*/ 1784 w 3813"/>
                <a:gd name="T69" fmla="*/ 494 h 2295"/>
                <a:gd name="T70" fmla="*/ 239 w 3813"/>
                <a:gd name="T71" fmla="*/ 1919 h 2295"/>
                <a:gd name="T72" fmla="*/ 426 w 3813"/>
                <a:gd name="T73" fmla="*/ 1749 h 2295"/>
                <a:gd name="T74" fmla="*/ 472 w 3813"/>
                <a:gd name="T75" fmla="*/ 1618 h 2295"/>
                <a:gd name="T76" fmla="*/ 404 w 3813"/>
                <a:gd name="T77" fmla="*/ 1550 h 2295"/>
                <a:gd name="T78" fmla="*/ 244 w 3813"/>
                <a:gd name="T79" fmla="*/ 1612 h 2295"/>
                <a:gd name="T80" fmla="*/ 108 w 3813"/>
                <a:gd name="T81" fmla="*/ 1749 h 2295"/>
                <a:gd name="T82" fmla="*/ 34 w 3813"/>
                <a:gd name="T83" fmla="*/ 1834 h 2295"/>
                <a:gd name="T84" fmla="*/ 74 w 3813"/>
                <a:gd name="T85" fmla="*/ 1914 h 2295"/>
                <a:gd name="T86" fmla="*/ 171 w 3813"/>
                <a:gd name="T87" fmla="*/ 1942 h 2295"/>
                <a:gd name="T88" fmla="*/ 216 w 3813"/>
                <a:gd name="T89" fmla="*/ 1982 h 2295"/>
                <a:gd name="T90" fmla="*/ 256 w 3813"/>
                <a:gd name="T91" fmla="*/ 1987 h 2295"/>
                <a:gd name="T92" fmla="*/ 239 w 3813"/>
                <a:gd name="T93" fmla="*/ 1919 h 2295"/>
                <a:gd name="T94" fmla="*/ 392 w 3813"/>
                <a:gd name="T95" fmla="*/ 2243 h 2295"/>
                <a:gd name="T96" fmla="*/ 313 w 3813"/>
                <a:gd name="T97" fmla="*/ 2175 h 2295"/>
                <a:gd name="T98" fmla="*/ 228 w 3813"/>
                <a:gd name="T99" fmla="*/ 2175 h 2295"/>
                <a:gd name="T100" fmla="*/ 233 w 3813"/>
                <a:gd name="T101" fmla="*/ 2294 h 2295"/>
                <a:gd name="T102" fmla="*/ 284 w 3813"/>
                <a:gd name="T103" fmla="*/ 2232 h 2295"/>
                <a:gd name="T104" fmla="*/ 409 w 3813"/>
                <a:gd name="T105" fmla="*/ 2277 h 2295"/>
                <a:gd name="T106" fmla="*/ 455 w 3813"/>
                <a:gd name="T107" fmla="*/ 2271 h 2295"/>
                <a:gd name="T108" fmla="*/ 421 w 3813"/>
                <a:gd name="T109" fmla="*/ 2237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13" h="2295">
                  <a:moveTo>
                    <a:pt x="3528" y="6"/>
                  </a:moveTo>
                  <a:lnTo>
                    <a:pt x="3528" y="6"/>
                  </a:lnTo>
                  <a:cubicBezTo>
                    <a:pt x="3500" y="62"/>
                    <a:pt x="3477" y="34"/>
                    <a:pt x="3415" y="45"/>
                  </a:cubicBezTo>
                  <a:cubicBezTo>
                    <a:pt x="3364" y="51"/>
                    <a:pt x="3256" y="34"/>
                    <a:pt x="3210" y="62"/>
                  </a:cubicBezTo>
                  <a:cubicBezTo>
                    <a:pt x="3199" y="62"/>
                    <a:pt x="3176" y="102"/>
                    <a:pt x="3176" y="108"/>
                  </a:cubicBezTo>
                  <a:cubicBezTo>
                    <a:pt x="3159" y="153"/>
                    <a:pt x="3188" y="142"/>
                    <a:pt x="3216" y="142"/>
                  </a:cubicBezTo>
                  <a:cubicBezTo>
                    <a:pt x="3216" y="176"/>
                    <a:pt x="3216" y="221"/>
                    <a:pt x="3205" y="256"/>
                  </a:cubicBezTo>
                  <a:cubicBezTo>
                    <a:pt x="3199" y="284"/>
                    <a:pt x="3296" y="273"/>
                    <a:pt x="3312" y="267"/>
                  </a:cubicBezTo>
                  <a:cubicBezTo>
                    <a:pt x="3358" y="261"/>
                    <a:pt x="3398" y="244"/>
                    <a:pt x="3443" y="267"/>
                  </a:cubicBezTo>
                  <a:cubicBezTo>
                    <a:pt x="3517" y="301"/>
                    <a:pt x="3580" y="363"/>
                    <a:pt x="3653" y="392"/>
                  </a:cubicBezTo>
                  <a:cubicBezTo>
                    <a:pt x="3744" y="437"/>
                    <a:pt x="3812" y="494"/>
                    <a:pt x="3807" y="347"/>
                  </a:cubicBezTo>
                  <a:cubicBezTo>
                    <a:pt x="3801" y="273"/>
                    <a:pt x="3767" y="199"/>
                    <a:pt x="3750" y="136"/>
                  </a:cubicBezTo>
                  <a:cubicBezTo>
                    <a:pt x="3710" y="136"/>
                    <a:pt x="3642" y="102"/>
                    <a:pt x="3636" y="68"/>
                  </a:cubicBezTo>
                  <a:cubicBezTo>
                    <a:pt x="3625" y="17"/>
                    <a:pt x="3614" y="23"/>
                    <a:pt x="3580" y="45"/>
                  </a:cubicBezTo>
                  <a:cubicBezTo>
                    <a:pt x="3528" y="68"/>
                    <a:pt x="3562" y="11"/>
                    <a:pt x="3540" y="0"/>
                  </a:cubicBezTo>
                  <a:cubicBezTo>
                    <a:pt x="3528" y="6"/>
                    <a:pt x="3528" y="6"/>
                    <a:pt x="3528" y="6"/>
                  </a:cubicBezTo>
                  <a:close/>
                  <a:moveTo>
                    <a:pt x="1784" y="494"/>
                  </a:moveTo>
                  <a:lnTo>
                    <a:pt x="1784" y="494"/>
                  </a:lnTo>
                  <a:cubicBezTo>
                    <a:pt x="1756" y="517"/>
                    <a:pt x="1722" y="568"/>
                    <a:pt x="1693" y="596"/>
                  </a:cubicBezTo>
                  <a:cubicBezTo>
                    <a:pt x="1676" y="608"/>
                    <a:pt x="1659" y="613"/>
                    <a:pt x="1637" y="619"/>
                  </a:cubicBezTo>
                  <a:cubicBezTo>
                    <a:pt x="1602" y="625"/>
                    <a:pt x="1563" y="670"/>
                    <a:pt x="1534" y="693"/>
                  </a:cubicBezTo>
                  <a:cubicBezTo>
                    <a:pt x="1443" y="761"/>
                    <a:pt x="1443" y="761"/>
                    <a:pt x="1443" y="761"/>
                  </a:cubicBezTo>
                  <a:cubicBezTo>
                    <a:pt x="1375" y="801"/>
                    <a:pt x="1375" y="801"/>
                    <a:pt x="1375" y="801"/>
                  </a:cubicBezTo>
                  <a:cubicBezTo>
                    <a:pt x="1364" y="807"/>
                    <a:pt x="1455" y="897"/>
                    <a:pt x="1477" y="897"/>
                  </a:cubicBezTo>
                  <a:cubicBezTo>
                    <a:pt x="1489" y="897"/>
                    <a:pt x="1534" y="891"/>
                    <a:pt x="1546" y="902"/>
                  </a:cubicBezTo>
                  <a:cubicBezTo>
                    <a:pt x="1546" y="902"/>
                    <a:pt x="1534" y="925"/>
                    <a:pt x="1534" y="936"/>
                  </a:cubicBezTo>
                  <a:cubicBezTo>
                    <a:pt x="1540" y="965"/>
                    <a:pt x="1614" y="1021"/>
                    <a:pt x="1631" y="970"/>
                  </a:cubicBezTo>
                  <a:cubicBezTo>
                    <a:pt x="1642" y="948"/>
                    <a:pt x="1653" y="897"/>
                    <a:pt x="1676" y="885"/>
                  </a:cubicBezTo>
                  <a:cubicBezTo>
                    <a:pt x="1688" y="879"/>
                    <a:pt x="1693" y="885"/>
                    <a:pt x="1705" y="879"/>
                  </a:cubicBezTo>
                  <a:cubicBezTo>
                    <a:pt x="1710" y="879"/>
                    <a:pt x="1716" y="857"/>
                    <a:pt x="1722" y="857"/>
                  </a:cubicBezTo>
                  <a:cubicBezTo>
                    <a:pt x="1722" y="852"/>
                    <a:pt x="1739" y="868"/>
                    <a:pt x="1744" y="862"/>
                  </a:cubicBezTo>
                  <a:cubicBezTo>
                    <a:pt x="1750" y="852"/>
                    <a:pt x="1756" y="835"/>
                    <a:pt x="1761" y="829"/>
                  </a:cubicBezTo>
                  <a:cubicBezTo>
                    <a:pt x="1790" y="824"/>
                    <a:pt x="1858" y="879"/>
                    <a:pt x="1875" y="897"/>
                  </a:cubicBezTo>
                  <a:cubicBezTo>
                    <a:pt x="1903" y="919"/>
                    <a:pt x="1869" y="953"/>
                    <a:pt x="1869" y="982"/>
                  </a:cubicBezTo>
                  <a:cubicBezTo>
                    <a:pt x="1869" y="1005"/>
                    <a:pt x="1903" y="1016"/>
                    <a:pt x="1892" y="1044"/>
                  </a:cubicBezTo>
                  <a:cubicBezTo>
                    <a:pt x="1881" y="1078"/>
                    <a:pt x="1909" y="1118"/>
                    <a:pt x="1938" y="1141"/>
                  </a:cubicBezTo>
                  <a:cubicBezTo>
                    <a:pt x="1966" y="1169"/>
                    <a:pt x="2023" y="1158"/>
                    <a:pt x="2063" y="1158"/>
                  </a:cubicBezTo>
                  <a:cubicBezTo>
                    <a:pt x="2085" y="1158"/>
                    <a:pt x="2085" y="1169"/>
                    <a:pt x="2102" y="1158"/>
                  </a:cubicBezTo>
                  <a:cubicBezTo>
                    <a:pt x="2137" y="1147"/>
                    <a:pt x="2142" y="1141"/>
                    <a:pt x="2171" y="1169"/>
                  </a:cubicBezTo>
                  <a:cubicBezTo>
                    <a:pt x="2188" y="1186"/>
                    <a:pt x="2171" y="1220"/>
                    <a:pt x="2199" y="1226"/>
                  </a:cubicBezTo>
                  <a:cubicBezTo>
                    <a:pt x="2222" y="1232"/>
                    <a:pt x="2250" y="1294"/>
                    <a:pt x="2273" y="1311"/>
                  </a:cubicBezTo>
                  <a:cubicBezTo>
                    <a:pt x="2290" y="1323"/>
                    <a:pt x="2347" y="1249"/>
                    <a:pt x="2364" y="1237"/>
                  </a:cubicBezTo>
                  <a:cubicBezTo>
                    <a:pt x="2375" y="1226"/>
                    <a:pt x="2432" y="1203"/>
                    <a:pt x="2432" y="1198"/>
                  </a:cubicBezTo>
                  <a:cubicBezTo>
                    <a:pt x="2438" y="1175"/>
                    <a:pt x="2443" y="1169"/>
                    <a:pt x="2466" y="1164"/>
                  </a:cubicBezTo>
                  <a:cubicBezTo>
                    <a:pt x="2529" y="1141"/>
                    <a:pt x="2534" y="1039"/>
                    <a:pt x="2551" y="987"/>
                  </a:cubicBezTo>
                  <a:cubicBezTo>
                    <a:pt x="2574" y="953"/>
                    <a:pt x="2591" y="897"/>
                    <a:pt x="2625" y="874"/>
                  </a:cubicBezTo>
                  <a:cubicBezTo>
                    <a:pt x="2648" y="852"/>
                    <a:pt x="2665" y="829"/>
                    <a:pt x="2688" y="818"/>
                  </a:cubicBezTo>
                  <a:cubicBezTo>
                    <a:pt x="2722" y="801"/>
                    <a:pt x="2676" y="790"/>
                    <a:pt x="2693" y="761"/>
                  </a:cubicBezTo>
                  <a:cubicBezTo>
                    <a:pt x="2705" y="727"/>
                    <a:pt x="2767" y="710"/>
                    <a:pt x="2767" y="659"/>
                  </a:cubicBezTo>
                  <a:cubicBezTo>
                    <a:pt x="2767" y="636"/>
                    <a:pt x="2790" y="585"/>
                    <a:pt x="2779" y="574"/>
                  </a:cubicBezTo>
                  <a:cubicBezTo>
                    <a:pt x="2739" y="540"/>
                    <a:pt x="2676" y="494"/>
                    <a:pt x="2619" y="483"/>
                  </a:cubicBezTo>
                  <a:cubicBezTo>
                    <a:pt x="2614" y="483"/>
                    <a:pt x="2580" y="540"/>
                    <a:pt x="2563" y="551"/>
                  </a:cubicBezTo>
                  <a:cubicBezTo>
                    <a:pt x="2517" y="585"/>
                    <a:pt x="2466" y="562"/>
                    <a:pt x="2426" y="534"/>
                  </a:cubicBezTo>
                  <a:cubicBezTo>
                    <a:pt x="2421" y="517"/>
                    <a:pt x="2387" y="471"/>
                    <a:pt x="2369" y="460"/>
                  </a:cubicBezTo>
                  <a:cubicBezTo>
                    <a:pt x="2324" y="420"/>
                    <a:pt x="2403" y="420"/>
                    <a:pt x="2426" y="403"/>
                  </a:cubicBezTo>
                  <a:cubicBezTo>
                    <a:pt x="2443" y="386"/>
                    <a:pt x="2443" y="375"/>
                    <a:pt x="2432" y="363"/>
                  </a:cubicBezTo>
                  <a:cubicBezTo>
                    <a:pt x="2421" y="347"/>
                    <a:pt x="2443" y="335"/>
                    <a:pt x="2443" y="318"/>
                  </a:cubicBezTo>
                  <a:cubicBezTo>
                    <a:pt x="2438" y="318"/>
                    <a:pt x="2375" y="347"/>
                    <a:pt x="2364" y="352"/>
                  </a:cubicBezTo>
                  <a:cubicBezTo>
                    <a:pt x="2347" y="352"/>
                    <a:pt x="2324" y="358"/>
                    <a:pt x="2324" y="335"/>
                  </a:cubicBezTo>
                  <a:cubicBezTo>
                    <a:pt x="2324" y="290"/>
                    <a:pt x="2352" y="273"/>
                    <a:pt x="2392" y="261"/>
                  </a:cubicBezTo>
                  <a:cubicBezTo>
                    <a:pt x="2409" y="250"/>
                    <a:pt x="2477" y="227"/>
                    <a:pt x="2477" y="204"/>
                  </a:cubicBezTo>
                  <a:cubicBezTo>
                    <a:pt x="2443" y="204"/>
                    <a:pt x="2403" y="199"/>
                    <a:pt x="2375" y="221"/>
                  </a:cubicBezTo>
                  <a:cubicBezTo>
                    <a:pt x="2330" y="267"/>
                    <a:pt x="2295" y="239"/>
                    <a:pt x="2244" y="244"/>
                  </a:cubicBezTo>
                  <a:cubicBezTo>
                    <a:pt x="2216" y="250"/>
                    <a:pt x="2216" y="267"/>
                    <a:pt x="2199" y="278"/>
                  </a:cubicBezTo>
                  <a:cubicBezTo>
                    <a:pt x="2176" y="290"/>
                    <a:pt x="2148" y="284"/>
                    <a:pt x="2125" y="284"/>
                  </a:cubicBezTo>
                  <a:cubicBezTo>
                    <a:pt x="2097" y="301"/>
                    <a:pt x="2068" y="312"/>
                    <a:pt x="2046" y="329"/>
                  </a:cubicBezTo>
                  <a:cubicBezTo>
                    <a:pt x="2023" y="347"/>
                    <a:pt x="2000" y="358"/>
                    <a:pt x="1972" y="358"/>
                  </a:cubicBezTo>
                  <a:cubicBezTo>
                    <a:pt x="1955" y="358"/>
                    <a:pt x="1943" y="363"/>
                    <a:pt x="1932" y="381"/>
                  </a:cubicBezTo>
                  <a:cubicBezTo>
                    <a:pt x="1903" y="420"/>
                    <a:pt x="1830" y="420"/>
                    <a:pt x="1801" y="471"/>
                  </a:cubicBezTo>
                  <a:cubicBezTo>
                    <a:pt x="1784" y="494"/>
                    <a:pt x="1784" y="494"/>
                    <a:pt x="1784" y="494"/>
                  </a:cubicBezTo>
                  <a:close/>
                  <a:moveTo>
                    <a:pt x="239" y="1919"/>
                  </a:moveTo>
                  <a:lnTo>
                    <a:pt x="239" y="1919"/>
                  </a:lnTo>
                  <a:cubicBezTo>
                    <a:pt x="233" y="1879"/>
                    <a:pt x="381" y="1857"/>
                    <a:pt x="398" y="1800"/>
                  </a:cubicBezTo>
                  <a:cubicBezTo>
                    <a:pt x="409" y="1766"/>
                    <a:pt x="392" y="1754"/>
                    <a:pt x="426" y="1749"/>
                  </a:cubicBezTo>
                  <a:cubicBezTo>
                    <a:pt x="472" y="1737"/>
                    <a:pt x="460" y="1692"/>
                    <a:pt x="494" y="1680"/>
                  </a:cubicBezTo>
                  <a:cubicBezTo>
                    <a:pt x="483" y="1664"/>
                    <a:pt x="466" y="1646"/>
                    <a:pt x="472" y="1618"/>
                  </a:cubicBezTo>
                  <a:cubicBezTo>
                    <a:pt x="472" y="1578"/>
                    <a:pt x="494" y="1578"/>
                    <a:pt x="438" y="1578"/>
                  </a:cubicBezTo>
                  <a:cubicBezTo>
                    <a:pt x="404" y="1578"/>
                    <a:pt x="421" y="1561"/>
                    <a:pt x="404" y="1550"/>
                  </a:cubicBezTo>
                  <a:cubicBezTo>
                    <a:pt x="404" y="1544"/>
                    <a:pt x="364" y="1578"/>
                    <a:pt x="341" y="1578"/>
                  </a:cubicBezTo>
                  <a:cubicBezTo>
                    <a:pt x="313" y="1578"/>
                    <a:pt x="273" y="1595"/>
                    <a:pt x="244" y="1612"/>
                  </a:cubicBezTo>
                  <a:cubicBezTo>
                    <a:pt x="228" y="1629"/>
                    <a:pt x="216" y="1624"/>
                    <a:pt x="193" y="1624"/>
                  </a:cubicBezTo>
                  <a:cubicBezTo>
                    <a:pt x="171" y="1624"/>
                    <a:pt x="80" y="1732"/>
                    <a:pt x="108" y="1749"/>
                  </a:cubicBezTo>
                  <a:cubicBezTo>
                    <a:pt x="154" y="1783"/>
                    <a:pt x="125" y="1788"/>
                    <a:pt x="85" y="1788"/>
                  </a:cubicBezTo>
                  <a:cubicBezTo>
                    <a:pt x="0" y="1788"/>
                    <a:pt x="46" y="1783"/>
                    <a:pt x="34" y="1834"/>
                  </a:cubicBezTo>
                  <a:cubicBezTo>
                    <a:pt x="34" y="1857"/>
                    <a:pt x="23" y="1874"/>
                    <a:pt x="23" y="1896"/>
                  </a:cubicBezTo>
                  <a:cubicBezTo>
                    <a:pt x="23" y="1936"/>
                    <a:pt x="57" y="1959"/>
                    <a:pt x="74" y="1914"/>
                  </a:cubicBezTo>
                  <a:cubicBezTo>
                    <a:pt x="91" y="1919"/>
                    <a:pt x="91" y="1919"/>
                    <a:pt x="91" y="1919"/>
                  </a:cubicBezTo>
                  <a:cubicBezTo>
                    <a:pt x="108" y="1925"/>
                    <a:pt x="159" y="1942"/>
                    <a:pt x="171" y="1942"/>
                  </a:cubicBezTo>
                  <a:cubicBezTo>
                    <a:pt x="182" y="1942"/>
                    <a:pt x="188" y="1953"/>
                    <a:pt x="188" y="1959"/>
                  </a:cubicBezTo>
                  <a:cubicBezTo>
                    <a:pt x="193" y="1970"/>
                    <a:pt x="205" y="1982"/>
                    <a:pt x="216" y="1982"/>
                  </a:cubicBezTo>
                  <a:cubicBezTo>
                    <a:pt x="222" y="1982"/>
                    <a:pt x="233" y="1982"/>
                    <a:pt x="239" y="1987"/>
                  </a:cubicBezTo>
                  <a:cubicBezTo>
                    <a:pt x="244" y="1987"/>
                    <a:pt x="250" y="1993"/>
                    <a:pt x="256" y="1987"/>
                  </a:cubicBezTo>
                  <a:cubicBezTo>
                    <a:pt x="262" y="1970"/>
                    <a:pt x="239" y="1948"/>
                    <a:pt x="239" y="1925"/>
                  </a:cubicBezTo>
                  <a:cubicBezTo>
                    <a:pt x="239" y="1919"/>
                    <a:pt x="239" y="1919"/>
                    <a:pt x="239" y="1919"/>
                  </a:cubicBezTo>
                  <a:close/>
                  <a:moveTo>
                    <a:pt x="392" y="2243"/>
                  </a:moveTo>
                  <a:lnTo>
                    <a:pt x="392" y="2243"/>
                  </a:lnTo>
                  <a:cubicBezTo>
                    <a:pt x="381" y="2243"/>
                    <a:pt x="364" y="2226"/>
                    <a:pt x="352" y="2220"/>
                  </a:cubicBezTo>
                  <a:cubicBezTo>
                    <a:pt x="347" y="2215"/>
                    <a:pt x="318" y="2180"/>
                    <a:pt x="313" y="2175"/>
                  </a:cubicBezTo>
                  <a:cubicBezTo>
                    <a:pt x="301" y="2175"/>
                    <a:pt x="290" y="2180"/>
                    <a:pt x="273" y="2175"/>
                  </a:cubicBezTo>
                  <a:cubicBezTo>
                    <a:pt x="262" y="2175"/>
                    <a:pt x="239" y="2169"/>
                    <a:pt x="228" y="2175"/>
                  </a:cubicBezTo>
                  <a:cubicBezTo>
                    <a:pt x="222" y="2192"/>
                    <a:pt x="228" y="2220"/>
                    <a:pt x="228" y="2237"/>
                  </a:cubicBezTo>
                  <a:cubicBezTo>
                    <a:pt x="228" y="2254"/>
                    <a:pt x="228" y="2277"/>
                    <a:pt x="233" y="2294"/>
                  </a:cubicBezTo>
                  <a:lnTo>
                    <a:pt x="233" y="2294"/>
                  </a:lnTo>
                  <a:cubicBezTo>
                    <a:pt x="239" y="2294"/>
                    <a:pt x="273" y="2243"/>
                    <a:pt x="284" y="2232"/>
                  </a:cubicBezTo>
                  <a:cubicBezTo>
                    <a:pt x="313" y="2215"/>
                    <a:pt x="352" y="2232"/>
                    <a:pt x="375" y="2254"/>
                  </a:cubicBezTo>
                  <a:cubicBezTo>
                    <a:pt x="387" y="2266"/>
                    <a:pt x="398" y="2277"/>
                    <a:pt x="409" y="2277"/>
                  </a:cubicBezTo>
                  <a:cubicBezTo>
                    <a:pt x="415" y="2277"/>
                    <a:pt x="449" y="2277"/>
                    <a:pt x="449" y="2271"/>
                  </a:cubicBezTo>
                  <a:lnTo>
                    <a:pt x="455" y="2271"/>
                  </a:lnTo>
                  <a:cubicBezTo>
                    <a:pt x="455" y="2260"/>
                    <a:pt x="466" y="2237"/>
                    <a:pt x="455" y="2226"/>
                  </a:cubicBezTo>
                  <a:cubicBezTo>
                    <a:pt x="449" y="2215"/>
                    <a:pt x="426" y="2232"/>
                    <a:pt x="421" y="2237"/>
                  </a:cubicBezTo>
                  <a:lnTo>
                    <a:pt x="392" y="224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3" name="Freeform 164"/>
            <p:cNvSpPr>
              <a:spLocks noChangeArrowheads="1"/>
            </p:cNvSpPr>
            <p:nvPr/>
          </p:nvSpPr>
          <p:spPr bwMode="auto">
            <a:xfrm>
              <a:off x="9708784" y="10956453"/>
              <a:ext cx="4029348" cy="1665532"/>
            </a:xfrm>
            <a:custGeom>
              <a:avLst/>
              <a:gdLst>
                <a:gd name="T0" fmla="*/ 5716 w 5825"/>
                <a:gd name="T1" fmla="*/ 5 h 2409"/>
                <a:gd name="T2" fmla="*/ 5699 w 5825"/>
                <a:gd name="T3" fmla="*/ 28 h 2409"/>
                <a:gd name="T4" fmla="*/ 5699 w 5825"/>
                <a:gd name="T5" fmla="*/ 267 h 2409"/>
                <a:gd name="T6" fmla="*/ 5744 w 5825"/>
                <a:gd name="T7" fmla="*/ 210 h 2409"/>
                <a:gd name="T8" fmla="*/ 5710 w 5825"/>
                <a:gd name="T9" fmla="*/ 210 h 2409"/>
                <a:gd name="T10" fmla="*/ 5681 w 5825"/>
                <a:gd name="T11" fmla="*/ 267 h 2409"/>
                <a:gd name="T12" fmla="*/ 5806 w 5825"/>
                <a:gd name="T13" fmla="*/ 284 h 2409"/>
                <a:gd name="T14" fmla="*/ 5778 w 5825"/>
                <a:gd name="T15" fmla="*/ 494 h 2409"/>
                <a:gd name="T16" fmla="*/ 5608 w 5825"/>
                <a:gd name="T17" fmla="*/ 653 h 2409"/>
                <a:gd name="T18" fmla="*/ 5375 w 5825"/>
                <a:gd name="T19" fmla="*/ 801 h 2409"/>
                <a:gd name="T20" fmla="*/ 5318 w 5825"/>
                <a:gd name="T21" fmla="*/ 647 h 2409"/>
                <a:gd name="T22" fmla="*/ 5761 w 5825"/>
                <a:gd name="T23" fmla="*/ 261 h 2409"/>
                <a:gd name="T24" fmla="*/ 5301 w 5825"/>
                <a:gd name="T25" fmla="*/ 1039 h 2409"/>
                <a:gd name="T26" fmla="*/ 5301 w 5825"/>
                <a:gd name="T27" fmla="*/ 1261 h 2409"/>
                <a:gd name="T28" fmla="*/ 5136 w 5825"/>
                <a:gd name="T29" fmla="*/ 1659 h 2409"/>
                <a:gd name="T30" fmla="*/ 4591 w 5825"/>
                <a:gd name="T31" fmla="*/ 1880 h 2409"/>
                <a:gd name="T32" fmla="*/ 4858 w 5825"/>
                <a:gd name="T33" fmla="*/ 1545 h 2409"/>
                <a:gd name="T34" fmla="*/ 5000 w 5825"/>
                <a:gd name="T35" fmla="*/ 1306 h 2409"/>
                <a:gd name="T36" fmla="*/ 5238 w 5825"/>
                <a:gd name="T37" fmla="*/ 931 h 2409"/>
                <a:gd name="T38" fmla="*/ 5301 w 5825"/>
                <a:gd name="T39" fmla="*/ 1039 h 2409"/>
                <a:gd name="T40" fmla="*/ 3375 w 5825"/>
                <a:gd name="T41" fmla="*/ 2210 h 2409"/>
                <a:gd name="T42" fmla="*/ 3420 w 5825"/>
                <a:gd name="T43" fmla="*/ 1999 h 2409"/>
                <a:gd name="T44" fmla="*/ 3369 w 5825"/>
                <a:gd name="T45" fmla="*/ 1749 h 2409"/>
                <a:gd name="T46" fmla="*/ 3096 w 5825"/>
                <a:gd name="T47" fmla="*/ 1744 h 2409"/>
                <a:gd name="T48" fmla="*/ 2858 w 5825"/>
                <a:gd name="T49" fmla="*/ 2028 h 2409"/>
                <a:gd name="T50" fmla="*/ 2960 w 5825"/>
                <a:gd name="T51" fmla="*/ 2232 h 2409"/>
                <a:gd name="T52" fmla="*/ 3307 w 5825"/>
                <a:gd name="T53" fmla="*/ 2261 h 2409"/>
                <a:gd name="T54" fmla="*/ 1863 w 5825"/>
                <a:gd name="T55" fmla="*/ 1420 h 2409"/>
                <a:gd name="T56" fmla="*/ 1545 w 5825"/>
                <a:gd name="T57" fmla="*/ 1499 h 2409"/>
                <a:gd name="T58" fmla="*/ 1727 w 5825"/>
                <a:gd name="T59" fmla="*/ 1823 h 2409"/>
                <a:gd name="T60" fmla="*/ 1875 w 5825"/>
                <a:gd name="T61" fmla="*/ 1954 h 2409"/>
                <a:gd name="T62" fmla="*/ 2131 w 5825"/>
                <a:gd name="T63" fmla="*/ 1755 h 2409"/>
                <a:gd name="T64" fmla="*/ 2216 w 5825"/>
                <a:gd name="T65" fmla="*/ 1477 h 2409"/>
                <a:gd name="T66" fmla="*/ 2494 w 5825"/>
                <a:gd name="T67" fmla="*/ 1159 h 2409"/>
                <a:gd name="T68" fmla="*/ 2261 w 5825"/>
                <a:gd name="T69" fmla="*/ 1193 h 2409"/>
                <a:gd name="T70" fmla="*/ 2102 w 5825"/>
                <a:gd name="T71" fmla="*/ 1323 h 2409"/>
                <a:gd name="T72" fmla="*/ 330 w 5825"/>
                <a:gd name="T73" fmla="*/ 1170 h 2409"/>
                <a:gd name="T74" fmla="*/ 216 w 5825"/>
                <a:gd name="T75" fmla="*/ 914 h 2409"/>
                <a:gd name="T76" fmla="*/ 477 w 5825"/>
                <a:gd name="T77" fmla="*/ 824 h 2409"/>
                <a:gd name="T78" fmla="*/ 426 w 5825"/>
                <a:gd name="T79" fmla="*/ 1306 h 2409"/>
                <a:gd name="T80" fmla="*/ 1074 w 5825"/>
                <a:gd name="T81" fmla="*/ 1909 h 2409"/>
                <a:gd name="T82" fmla="*/ 1023 w 5825"/>
                <a:gd name="T83" fmla="*/ 1778 h 2409"/>
                <a:gd name="T84" fmla="*/ 1221 w 5825"/>
                <a:gd name="T85" fmla="*/ 1727 h 2409"/>
                <a:gd name="T86" fmla="*/ 1221 w 5825"/>
                <a:gd name="T87" fmla="*/ 1926 h 2409"/>
                <a:gd name="T88" fmla="*/ 1074 w 5825"/>
                <a:gd name="T89" fmla="*/ 1909 h 2409"/>
                <a:gd name="T90" fmla="*/ 51 w 5825"/>
                <a:gd name="T91" fmla="*/ 2363 h 2409"/>
                <a:gd name="T92" fmla="*/ 227 w 5825"/>
                <a:gd name="T93" fmla="*/ 2204 h 2409"/>
                <a:gd name="T94" fmla="*/ 261 w 5825"/>
                <a:gd name="T95" fmla="*/ 2374 h 2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825" h="2409">
                  <a:moveTo>
                    <a:pt x="5727" y="17"/>
                  </a:moveTo>
                  <a:lnTo>
                    <a:pt x="5727" y="17"/>
                  </a:lnTo>
                  <a:cubicBezTo>
                    <a:pt x="5727" y="11"/>
                    <a:pt x="5721" y="5"/>
                    <a:pt x="5716" y="5"/>
                  </a:cubicBezTo>
                  <a:cubicBezTo>
                    <a:pt x="5710" y="0"/>
                    <a:pt x="5699" y="5"/>
                    <a:pt x="5699" y="11"/>
                  </a:cubicBezTo>
                  <a:lnTo>
                    <a:pt x="5699" y="17"/>
                  </a:lnTo>
                  <a:cubicBezTo>
                    <a:pt x="5699" y="22"/>
                    <a:pt x="5693" y="28"/>
                    <a:pt x="5699" y="28"/>
                  </a:cubicBezTo>
                  <a:cubicBezTo>
                    <a:pt x="5704" y="34"/>
                    <a:pt x="5716" y="34"/>
                    <a:pt x="5721" y="34"/>
                  </a:cubicBezTo>
                  <a:cubicBezTo>
                    <a:pt x="5727" y="17"/>
                    <a:pt x="5727" y="17"/>
                    <a:pt x="5727" y="17"/>
                  </a:cubicBezTo>
                  <a:close/>
                  <a:moveTo>
                    <a:pt x="5699" y="267"/>
                  </a:moveTo>
                  <a:lnTo>
                    <a:pt x="5699" y="267"/>
                  </a:lnTo>
                  <a:cubicBezTo>
                    <a:pt x="5716" y="267"/>
                    <a:pt x="5727" y="238"/>
                    <a:pt x="5738" y="227"/>
                  </a:cubicBezTo>
                  <a:cubicBezTo>
                    <a:pt x="5738" y="221"/>
                    <a:pt x="5744" y="216"/>
                    <a:pt x="5744" y="210"/>
                  </a:cubicBezTo>
                  <a:cubicBezTo>
                    <a:pt x="5744" y="204"/>
                    <a:pt x="5733" y="204"/>
                    <a:pt x="5733" y="199"/>
                  </a:cubicBezTo>
                  <a:cubicBezTo>
                    <a:pt x="5727" y="193"/>
                    <a:pt x="5716" y="170"/>
                    <a:pt x="5710" y="187"/>
                  </a:cubicBezTo>
                  <a:cubicBezTo>
                    <a:pt x="5710" y="193"/>
                    <a:pt x="5710" y="204"/>
                    <a:pt x="5710" y="210"/>
                  </a:cubicBezTo>
                  <a:cubicBezTo>
                    <a:pt x="5704" y="221"/>
                    <a:pt x="5699" y="233"/>
                    <a:pt x="5687" y="238"/>
                  </a:cubicBezTo>
                  <a:cubicBezTo>
                    <a:pt x="5681" y="238"/>
                    <a:pt x="5681" y="244"/>
                    <a:pt x="5681" y="250"/>
                  </a:cubicBezTo>
                  <a:cubicBezTo>
                    <a:pt x="5676" y="261"/>
                    <a:pt x="5676" y="261"/>
                    <a:pt x="5681" y="267"/>
                  </a:cubicBezTo>
                  <a:cubicBezTo>
                    <a:pt x="5699" y="267"/>
                    <a:pt x="5699" y="267"/>
                    <a:pt x="5699" y="267"/>
                  </a:cubicBezTo>
                  <a:close/>
                  <a:moveTo>
                    <a:pt x="5806" y="284"/>
                  </a:moveTo>
                  <a:lnTo>
                    <a:pt x="5806" y="284"/>
                  </a:lnTo>
                  <a:cubicBezTo>
                    <a:pt x="5818" y="289"/>
                    <a:pt x="5818" y="289"/>
                    <a:pt x="5818" y="289"/>
                  </a:cubicBezTo>
                  <a:cubicBezTo>
                    <a:pt x="5818" y="329"/>
                    <a:pt x="5824" y="352"/>
                    <a:pt x="5795" y="375"/>
                  </a:cubicBezTo>
                  <a:cubicBezTo>
                    <a:pt x="5750" y="414"/>
                    <a:pt x="5795" y="448"/>
                    <a:pt x="5778" y="494"/>
                  </a:cubicBezTo>
                  <a:cubicBezTo>
                    <a:pt x="5761" y="528"/>
                    <a:pt x="5767" y="551"/>
                    <a:pt x="5744" y="579"/>
                  </a:cubicBezTo>
                  <a:cubicBezTo>
                    <a:pt x="5733" y="585"/>
                    <a:pt x="5659" y="647"/>
                    <a:pt x="5653" y="647"/>
                  </a:cubicBezTo>
                  <a:cubicBezTo>
                    <a:pt x="5636" y="642"/>
                    <a:pt x="5619" y="642"/>
                    <a:pt x="5608" y="653"/>
                  </a:cubicBezTo>
                  <a:cubicBezTo>
                    <a:pt x="5585" y="670"/>
                    <a:pt x="5562" y="693"/>
                    <a:pt x="5534" y="693"/>
                  </a:cubicBezTo>
                  <a:cubicBezTo>
                    <a:pt x="5460" y="693"/>
                    <a:pt x="5403" y="727"/>
                    <a:pt x="5380" y="801"/>
                  </a:cubicBezTo>
                  <a:cubicBezTo>
                    <a:pt x="5375" y="801"/>
                    <a:pt x="5375" y="801"/>
                    <a:pt x="5375" y="801"/>
                  </a:cubicBezTo>
                  <a:cubicBezTo>
                    <a:pt x="5375" y="812"/>
                    <a:pt x="5352" y="778"/>
                    <a:pt x="5346" y="778"/>
                  </a:cubicBezTo>
                  <a:cubicBezTo>
                    <a:pt x="5329" y="778"/>
                    <a:pt x="5278" y="789"/>
                    <a:pt x="5272" y="778"/>
                  </a:cubicBezTo>
                  <a:cubicBezTo>
                    <a:pt x="5255" y="727"/>
                    <a:pt x="5312" y="704"/>
                    <a:pt x="5318" y="647"/>
                  </a:cubicBezTo>
                  <a:cubicBezTo>
                    <a:pt x="5324" y="488"/>
                    <a:pt x="5454" y="471"/>
                    <a:pt x="5574" y="414"/>
                  </a:cubicBezTo>
                  <a:cubicBezTo>
                    <a:pt x="5619" y="392"/>
                    <a:pt x="5602" y="397"/>
                    <a:pt x="5642" y="420"/>
                  </a:cubicBezTo>
                  <a:cubicBezTo>
                    <a:pt x="5716" y="454"/>
                    <a:pt x="5693" y="238"/>
                    <a:pt x="5761" y="261"/>
                  </a:cubicBezTo>
                  <a:cubicBezTo>
                    <a:pt x="5772" y="261"/>
                    <a:pt x="5801" y="289"/>
                    <a:pt x="5806" y="284"/>
                  </a:cubicBezTo>
                  <a:close/>
                  <a:moveTo>
                    <a:pt x="5301" y="1039"/>
                  </a:moveTo>
                  <a:lnTo>
                    <a:pt x="5301" y="1039"/>
                  </a:lnTo>
                  <a:cubicBezTo>
                    <a:pt x="5307" y="1062"/>
                    <a:pt x="5312" y="1085"/>
                    <a:pt x="5318" y="1107"/>
                  </a:cubicBezTo>
                  <a:cubicBezTo>
                    <a:pt x="5324" y="1125"/>
                    <a:pt x="5318" y="1142"/>
                    <a:pt x="5318" y="1159"/>
                  </a:cubicBezTo>
                  <a:cubicBezTo>
                    <a:pt x="5318" y="1198"/>
                    <a:pt x="5324" y="1233"/>
                    <a:pt x="5301" y="1261"/>
                  </a:cubicBezTo>
                  <a:cubicBezTo>
                    <a:pt x="5261" y="1312"/>
                    <a:pt x="5289" y="1386"/>
                    <a:pt x="5278" y="1443"/>
                  </a:cubicBezTo>
                  <a:cubicBezTo>
                    <a:pt x="5233" y="1585"/>
                    <a:pt x="5233" y="1585"/>
                    <a:pt x="5233" y="1585"/>
                  </a:cubicBezTo>
                  <a:cubicBezTo>
                    <a:pt x="5204" y="1664"/>
                    <a:pt x="5193" y="1636"/>
                    <a:pt x="5136" y="1659"/>
                  </a:cubicBezTo>
                  <a:cubicBezTo>
                    <a:pt x="5039" y="1687"/>
                    <a:pt x="4858" y="1704"/>
                    <a:pt x="4812" y="1795"/>
                  </a:cubicBezTo>
                  <a:cubicBezTo>
                    <a:pt x="4795" y="1823"/>
                    <a:pt x="4716" y="1914"/>
                    <a:pt x="4693" y="1909"/>
                  </a:cubicBezTo>
                  <a:cubicBezTo>
                    <a:pt x="4659" y="1897"/>
                    <a:pt x="4619" y="1897"/>
                    <a:pt x="4591" y="1880"/>
                  </a:cubicBezTo>
                  <a:cubicBezTo>
                    <a:pt x="4545" y="1852"/>
                    <a:pt x="4511" y="1892"/>
                    <a:pt x="4511" y="1829"/>
                  </a:cubicBezTo>
                  <a:cubicBezTo>
                    <a:pt x="4642" y="1852"/>
                    <a:pt x="4778" y="1772"/>
                    <a:pt x="4846" y="1664"/>
                  </a:cubicBezTo>
                  <a:cubicBezTo>
                    <a:pt x="4869" y="1625"/>
                    <a:pt x="4852" y="1585"/>
                    <a:pt x="4858" y="1545"/>
                  </a:cubicBezTo>
                  <a:cubicBezTo>
                    <a:pt x="4863" y="1499"/>
                    <a:pt x="4915" y="1465"/>
                    <a:pt x="4926" y="1409"/>
                  </a:cubicBezTo>
                  <a:cubicBezTo>
                    <a:pt x="4931" y="1397"/>
                    <a:pt x="4926" y="1380"/>
                    <a:pt x="4937" y="1369"/>
                  </a:cubicBezTo>
                  <a:cubicBezTo>
                    <a:pt x="4960" y="1346"/>
                    <a:pt x="4983" y="1329"/>
                    <a:pt x="5000" y="1306"/>
                  </a:cubicBezTo>
                  <a:cubicBezTo>
                    <a:pt x="5051" y="1221"/>
                    <a:pt x="5062" y="1130"/>
                    <a:pt x="5102" y="1039"/>
                  </a:cubicBezTo>
                  <a:cubicBezTo>
                    <a:pt x="5108" y="1028"/>
                    <a:pt x="5102" y="1011"/>
                    <a:pt x="5102" y="994"/>
                  </a:cubicBezTo>
                  <a:cubicBezTo>
                    <a:pt x="5108" y="948"/>
                    <a:pt x="5204" y="943"/>
                    <a:pt x="5238" y="931"/>
                  </a:cubicBezTo>
                  <a:cubicBezTo>
                    <a:pt x="5261" y="926"/>
                    <a:pt x="5272" y="948"/>
                    <a:pt x="5289" y="960"/>
                  </a:cubicBezTo>
                  <a:cubicBezTo>
                    <a:pt x="5324" y="983"/>
                    <a:pt x="5295" y="994"/>
                    <a:pt x="5301" y="1022"/>
                  </a:cubicBezTo>
                  <a:cubicBezTo>
                    <a:pt x="5301" y="1039"/>
                    <a:pt x="5301" y="1039"/>
                    <a:pt x="5301" y="1039"/>
                  </a:cubicBezTo>
                  <a:close/>
                  <a:moveTo>
                    <a:pt x="3307" y="2261"/>
                  </a:moveTo>
                  <a:lnTo>
                    <a:pt x="3307" y="2261"/>
                  </a:lnTo>
                  <a:cubicBezTo>
                    <a:pt x="3335" y="2249"/>
                    <a:pt x="3375" y="2249"/>
                    <a:pt x="3375" y="2210"/>
                  </a:cubicBezTo>
                  <a:cubicBezTo>
                    <a:pt x="3375" y="2170"/>
                    <a:pt x="3415" y="2170"/>
                    <a:pt x="3403" y="2130"/>
                  </a:cubicBezTo>
                  <a:cubicBezTo>
                    <a:pt x="3398" y="2102"/>
                    <a:pt x="3403" y="2090"/>
                    <a:pt x="3420" y="2073"/>
                  </a:cubicBezTo>
                  <a:cubicBezTo>
                    <a:pt x="3432" y="2062"/>
                    <a:pt x="3420" y="2016"/>
                    <a:pt x="3420" y="1999"/>
                  </a:cubicBezTo>
                  <a:cubicBezTo>
                    <a:pt x="3420" y="1943"/>
                    <a:pt x="3403" y="1943"/>
                    <a:pt x="3380" y="1897"/>
                  </a:cubicBezTo>
                  <a:cubicBezTo>
                    <a:pt x="3369" y="1875"/>
                    <a:pt x="3369" y="1784"/>
                    <a:pt x="3369" y="1749"/>
                  </a:cubicBezTo>
                  <a:lnTo>
                    <a:pt x="3369" y="1749"/>
                  </a:lnTo>
                  <a:cubicBezTo>
                    <a:pt x="3352" y="1749"/>
                    <a:pt x="3335" y="1784"/>
                    <a:pt x="3318" y="1789"/>
                  </a:cubicBezTo>
                  <a:cubicBezTo>
                    <a:pt x="3295" y="1789"/>
                    <a:pt x="3272" y="1772"/>
                    <a:pt x="3250" y="1767"/>
                  </a:cubicBezTo>
                  <a:cubicBezTo>
                    <a:pt x="3221" y="1749"/>
                    <a:pt x="3108" y="1784"/>
                    <a:pt x="3096" y="1744"/>
                  </a:cubicBezTo>
                  <a:cubicBezTo>
                    <a:pt x="3022" y="1744"/>
                    <a:pt x="3034" y="1772"/>
                    <a:pt x="3017" y="1829"/>
                  </a:cubicBezTo>
                  <a:cubicBezTo>
                    <a:pt x="2988" y="1892"/>
                    <a:pt x="2954" y="1931"/>
                    <a:pt x="2880" y="1954"/>
                  </a:cubicBezTo>
                  <a:cubicBezTo>
                    <a:pt x="2880" y="1977"/>
                    <a:pt x="2869" y="2005"/>
                    <a:pt x="2858" y="2028"/>
                  </a:cubicBezTo>
                  <a:cubicBezTo>
                    <a:pt x="2846" y="2051"/>
                    <a:pt x="2875" y="2085"/>
                    <a:pt x="2880" y="2113"/>
                  </a:cubicBezTo>
                  <a:cubicBezTo>
                    <a:pt x="2892" y="2130"/>
                    <a:pt x="2898" y="2147"/>
                    <a:pt x="2898" y="2164"/>
                  </a:cubicBezTo>
                  <a:cubicBezTo>
                    <a:pt x="2898" y="2187"/>
                    <a:pt x="2943" y="2210"/>
                    <a:pt x="2960" y="2232"/>
                  </a:cubicBezTo>
                  <a:cubicBezTo>
                    <a:pt x="2994" y="2266"/>
                    <a:pt x="3057" y="2301"/>
                    <a:pt x="3102" y="2318"/>
                  </a:cubicBezTo>
                  <a:cubicBezTo>
                    <a:pt x="3182" y="2346"/>
                    <a:pt x="3204" y="2289"/>
                    <a:pt x="3272" y="2272"/>
                  </a:cubicBezTo>
                  <a:cubicBezTo>
                    <a:pt x="3307" y="2261"/>
                    <a:pt x="3307" y="2261"/>
                    <a:pt x="3307" y="2261"/>
                  </a:cubicBezTo>
                  <a:close/>
                  <a:moveTo>
                    <a:pt x="2102" y="1323"/>
                  </a:moveTo>
                  <a:lnTo>
                    <a:pt x="2102" y="1323"/>
                  </a:lnTo>
                  <a:cubicBezTo>
                    <a:pt x="2034" y="1392"/>
                    <a:pt x="1960" y="1437"/>
                    <a:pt x="1863" y="1420"/>
                  </a:cubicBezTo>
                  <a:cubicBezTo>
                    <a:pt x="1790" y="1414"/>
                    <a:pt x="1716" y="1505"/>
                    <a:pt x="1636" y="1431"/>
                  </a:cubicBezTo>
                  <a:cubicBezTo>
                    <a:pt x="1636" y="1431"/>
                    <a:pt x="1534" y="1471"/>
                    <a:pt x="1534" y="1488"/>
                  </a:cubicBezTo>
                  <a:cubicBezTo>
                    <a:pt x="1540" y="1488"/>
                    <a:pt x="1545" y="1499"/>
                    <a:pt x="1545" y="1499"/>
                  </a:cubicBezTo>
                  <a:cubicBezTo>
                    <a:pt x="1545" y="1499"/>
                    <a:pt x="1557" y="1505"/>
                    <a:pt x="1557" y="1511"/>
                  </a:cubicBezTo>
                  <a:cubicBezTo>
                    <a:pt x="1602" y="1517"/>
                    <a:pt x="1625" y="1607"/>
                    <a:pt x="1631" y="1647"/>
                  </a:cubicBezTo>
                  <a:cubicBezTo>
                    <a:pt x="1642" y="1710"/>
                    <a:pt x="1682" y="1778"/>
                    <a:pt x="1727" y="1823"/>
                  </a:cubicBezTo>
                  <a:cubicBezTo>
                    <a:pt x="1784" y="1903"/>
                    <a:pt x="1784" y="1903"/>
                    <a:pt x="1784" y="1903"/>
                  </a:cubicBezTo>
                  <a:cubicBezTo>
                    <a:pt x="1807" y="1931"/>
                    <a:pt x="1790" y="1954"/>
                    <a:pt x="1801" y="1971"/>
                  </a:cubicBezTo>
                  <a:cubicBezTo>
                    <a:pt x="1812" y="1994"/>
                    <a:pt x="1863" y="1960"/>
                    <a:pt x="1875" y="1954"/>
                  </a:cubicBezTo>
                  <a:cubicBezTo>
                    <a:pt x="1915" y="1931"/>
                    <a:pt x="1954" y="1909"/>
                    <a:pt x="1994" y="1943"/>
                  </a:cubicBezTo>
                  <a:cubicBezTo>
                    <a:pt x="1994" y="1943"/>
                    <a:pt x="2000" y="1920"/>
                    <a:pt x="2006" y="1914"/>
                  </a:cubicBezTo>
                  <a:cubicBezTo>
                    <a:pt x="2068" y="1863"/>
                    <a:pt x="2085" y="1818"/>
                    <a:pt x="2131" y="1755"/>
                  </a:cubicBezTo>
                  <a:cubicBezTo>
                    <a:pt x="2148" y="1733"/>
                    <a:pt x="2136" y="1698"/>
                    <a:pt x="2148" y="1676"/>
                  </a:cubicBezTo>
                  <a:cubicBezTo>
                    <a:pt x="2182" y="1590"/>
                    <a:pt x="2182" y="1590"/>
                    <a:pt x="2182" y="1590"/>
                  </a:cubicBezTo>
                  <a:cubicBezTo>
                    <a:pt x="2216" y="1545"/>
                    <a:pt x="2199" y="1522"/>
                    <a:pt x="2216" y="1477"/>
                  </a:cubicBezTo>
                  <a:cubicBezTo>
                    <a:pt x="2239" y="1431"/>
                    <a:pt x="2256" y="1426"/>
                    <a:pt x="2295" y="1397"/>
                  </a:cubicBezTo>
                  <a:cubicBezTo>
                    <a:pt x="2352" y="1346"/>
                    <a:pt x="2386" y="1295"/>
                    <a:pt x="2454" y="1261"/>
                  </a:cubicBezTo>
                  <a:cubicBezTo>
                    <a:pt x="2500" y="1238"/>
                    <a:pt x="2528" y="1210"/>
                    <a:pt x="2494" y="1159"/>
                  </a:cubicBezTo>
                  <a:cubicBezTo>
                    <a:pt x="2488" y="1153"/>
                    <a:pt x="2409" y="1187"/>
                    <a:pt x="2386" y="1187"/>
                  </a:cubicBezTo>
                  <a:cubicBezTo>
                    <a:pt x="2301" y="1187"/>
                    <a:pt x="2301" y="1187"/>
                    <a:pt x="2301" y="1187"/>
                  </a:cubicBezTo>
                  <a:cubicBezTo>
                    <a:pt x="2278" y="1187"/>
                    <a:pt x="2273" y="1176"/>
                    <a:pt x="2261" y="1193"/>
                  </a:cubicBezTo>
                  <a:cubicBezTo>
                    <a:pt x="2244" y="1221"/>
                    <a:pt x="2204" y="1210"/>
                    <a:pt x="2182" y="1233"/>
                  </a:cubicBezTo>
                  <a:cubicBezTo>
                    <a:pt x="2159" y="1255"/>
                    <a:pt x="2148" y="1284"/>
                    <a:pt x="2125" y="1301"/>
                  </a:cubicBezTo>
                  <a:cubicBezTo>
                    <a:pt x="2102" y="1323"/>
                    <a:pt x="2102" y="1323"/>
                    <a:pt x="2102" y="1323"/>
                  </a:cubicBezTo>
                  <a:close/>
                  <a:moveTo>
                    <a:pt x="369" y="1249"/>
                  </a:moveTo>
                  <a:lnTo>
                    <a:pt x="369" y="1249"/>
                  </a:lnTo>
                  <a:cubicBezTo>
                    <a:pt x="358" y="1210"/>
                    <a:pt x="352" y="1198"/>
                    <a:pt x="330" y="1170"/>
                  </a:cubicBezTo>
                  <a:cubicBezTo>
                    <a:pt x="312" y="1147"/>
                    <a:pt x="307" y="1142"/>
                    <a:pt x="295" y="1107"/>
                  </a:cubicBezTo>
                  <a:cubicBezTo>
                    <a:pt x="290" y="1079"/>
                    <a:pt x="267" y="1074"/>
                    <a:pt x="267" y="1051"/>
                  </a:cubicBezTo>
                  <a:cubicBezTo>
                    <a:pt x="267" y="1000"/>
                    <a:pt x="227" y="960"/>
                    <a:pt x="216" y="914"/>
                  </a:cubicBezTo>
                  <a:cubicBezTo>
                    <a:pt x="204" y="875"/>
                    <a:pt x="267" y="835"/>
                    <a:pt x="290" y="806"/>
                  </a:cubicBezTo>
                  <a:cubicBezTo>
                    <a:pt x="324" y="761"/>
                    <a:pt x="341" y="812"/>
                    <a:pt x="386" y="812"/>
                  </a:cubicBezTo>
                  <a:cubicBezTo>
                    <a:pt x="426" y="818"/>
                    <a:pt x="460" y="784"/>
                    <a:pt x="477" y="824"/>
                  </a:cubicBezTo>
                  <a:cubicBezTo>
                    <a:pt x="506" y="886"/>
                    <a:pt x="574" y="937"/>
                    <a:pt x="517" y="994"/>
                  </a:cubicBezTo>
                  <a:cubicBezTo>
                    <a:pt x="460" y="1051"/>
                    <a:pt x="545" y="1147"/>
                    <a:pt x="472" y="1221"/>
                  </a:cubicBezTo>
                  <a:cubicBezTo>
                    <a:pt x="466" y="1227"/>
                    <a:pt x="426" y="1301"/>
                    <a:pt x="426" y="1306"/>
                  </a:cubicBezTo>
                  <a:cubicBezTo>
                    <a:pt x="426" y="1363"/>
                    <a:pt x="369" y="1329"/>
                    <a:pt x="369" y="1272"/>
                  </a:cubicBezTo>
                  <a:cubicBezTo>
                    <a:pt x="369" y="1249"/>
                    <a:pt x="369" y="1249"/>
                    <a:pt x="369" y="1249"/>
                  </a:cubicBezTo>
                  <a:close/>
                  <a:moveTo>
                    <a:pt x="1074" y="1909"/>
                  </a:moveTo>
                  <a:lnTo>
                    <a:pt x="1074" y="1909"/>
                  </a:lnTo>
                  <a:cubicBezTo>
                    <a:pt x="1045" y="1897"/>
                    <a:pt x="1045" y="1869"/>
                    <a:pt x="1034" y="1852"/>
                  </a:cubicBezTo>
                  <a:cubicBezTo>
                    <a:pt x="1011" y="1818"/>
                    <a:pt x="1011" y="1818"/>
                    <a:pt x="1023" y="1778"/>
                  </a:cubicBezTo>
                  <a:cubicBezTo>
                    <a:pt x="1034" y="1738"/>
                    <a:pt x="1040" y="1681"/>
                    <a:pt x="1102" y="1681"/>
                  </a:cubicBezTo>
                  <a:cubicBezTo>
                    <a:pt x="1113" y="1681"/>
                    <a:pt x="1125" y="1693"/>
                    <a:pt x="1142" y="1693"/>
                  </a:cubicBezTo>
                  <a:cubicBezTo>
                    <a:pt x="1176" y="1704"/>
                    <a:pt x="1193" y="1704"/>
                    <a:pt x="1221" y="1727"/>
                  </a:cubicBezTo>
                  <a:cubicBezTo>
                    <a:pt x="1256" y="1761"/>
                    <a:pt x="1307" y="1767"/>
                    <a:pt x="1307" y="1823"/>
                  </a:cubicBezTo>
                  <a:cubicBezTo>
                    <a:pt x="1307" y="1846"/>
                    <a:pt x="1290" y="1857"/>
                    <a:pt x="1273" y="1875"/>
                  </a:cubicBezTo>
                  <a:cubicBezTo>
                    <a:pt x="1261" y="1886"/>
                    <a:pt x="1227" y="1914"/>
                    <a:pt x="1221" y="1926"/>
                  </a:cubicBezTo>
                  <a:cubicBezTo>
                    <a:pt x="1210" y="1926"/>
                    <a:pt x="1187" y="1943"/>
                    <a:pt x="1165" y="1943"/>
                  </a:cubicBezTo>
                  <a:cubicBezTo>
                    <a:pt x="1142" y="1943"/>
                    <a:pt x="1119" y="1937"/>
                    <a:pt x="1091" y="1926"/>
                  </a:cubicBezTo>
                  <a:cubicBezTo>
                    <a:pt x="1074" y="1909"/>
                    <a:pt x="1074" y="1909"/>
                    <a:pt x="1074" y="1909"/>
                  </a:cubicBezTo>
                  <a:close/>
                  <a:moveTo>
                    <a:pt x="153" y="2386"/>
                  </a:moveTo>
                  <a:lnTo>
                    <a:pt x="153" y="2386"/>
                  </a:lnTo>
                  <a:cubicBezTo>
                    <a:pt x="131" y="2369"/>
                    <a:pt x="80" y="2363"/>
                    <a:pt x="51" y="2363"/>
                  </a:cubicBezTo>
                  <a:cubicBezTo>
                    <a:pt x="0" y="2363"/>
                    <a:pt x="23" y="2346"/>
                    <a:pt x="23" y="2318"/>
                  </a:cubicBezTo>
                  <a:cubicBezTo>
                    <a:pt x="23" y="2261"/>
                    <a:pt x="45" y="2295"/>
                    <a:pt x="80" y="2295"/>
                  </a:cubicBezTo>
                  <a:cubicBezTo>
                    <a:pt x="153" y="2295"/>
                    <a:pt x="193" y="2261"/>
                    <a:pt x="227" y="2204"/>
                  </a:cubicBezTo>
                  <a:cubicBezTo>
                    <a:pt x="239" y="2181"/>
                    <a:pt x="295" y="2164"/>
                    <a:pt x="318" y="2170"/>
                  </a:cubicBezTo>
                  <a:cubicBezTo>
                    <a:pt x="347" y="2181"/>
                    <a:pt x="335" y="2249"/>
                    <a:pt x="330" y="2266"/>
                  </a:cubicBezTo>
                  <a:cubicBezTo>
                    <a:pt x="307" y="2306"/>
                    <a:pt x="267" y="2329"/>
                    <a:pt x="261" y="2374"/>
                  </a:cubicBezTo>
                  <a:cubicBezTo>
                    <a:pt x="261" y="2397"/>
                    <a:pt x="193" y="2408"/>
                    <a:pt x="170" y="2403"/>
                  </a:cubicBezTo>
                  <a:lnTo>
                    <a:pt x="153" y="238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24" name="Freeform 165"/>
            <p:cNvSpPr>
              <a:spLocks noChangeArrowheads="1"/>
            </p:cNvSpPr>
            <p:nvPr/>
          </p:nvSpPr>
          <p:spPr bwMode="auto">
            <a:xfrm>
              <a:off x="15736031" y="6030016"/>
              <a:ext cx="1290245" cy="1467254"/>
            </a:xfrm>
            <a:custGeom>
              <a:avLst/>
              <a:gdLst>
                <a:gd name="T0" fmla="*/ 387 w 1864"/>
                <a:gd name="T1" fmla="*/ 801 h 2121"/>
                <a:gd name="T2" fmla="*/ 324 w 1864"/>
                <a:gd name="T3" fmla="*/ 813 h 2121"/>
                <a:gd name="T4" fmla="*/ 370 w 1864"/>
                <a:gd name="T5" fmla="*/ 836 h 2121"/>
                <a:gd name="T6" fmla="*/ 387 w 1864"/>
                <a:gd name="T7" fmla="*/ 813 h 2121"/>
                <a:gd name="T8" fmla="*/ 6 w 1864"/>
                <a:gd name="T9" fmla="*/ 1540 h 2121"/>
                <a:gd name="T10" fmla="*/ 46 w 1864"/>
                <a:gd name="T11" fmla="*/ 1421 h 2121"/>
                <a:gd name="T12" fmla="*/ 63 w 1864"/>
                <a:gd name="T13" fmla="*/ 1330 h 2121"/>
                <a:gd name="T14" fmla="*/ 148 w 1864"/>
                <a:gd name="T15" fmla="*/ 1370 h 2121"/>
                <a:gd name="T16" fmla="*/ 177 w 1864"/>
                <a:gd name="T17" fmla="*/ 1301 h 2121"/>
                <a:gd name="T18" fmla="*/ 262 w 1864"/>
                <a:gd name="T19" fmla="*/ 1222 h 2121"/>
                <a:gd name="T20" fmla="*/ 296 w 1864"/>
                <a:gd name="T21" fmla="*/ 1177 h 2121"/>
                <a:gd name="T22" fmla="*/ 313 w 1864"/>
                <a:gd name="T23" fmla="*/ 1069 h 2121"/>
                <a:gd name="T24" fmla="*/ 330 w 1864"/>
                <a:gd name="T25" fmla="*/ 1006 h 2121"/>
                <a:gd name="T26" fmla="*/ 364 w 1864"/>
                <a:gd name="T27" fmla="*/ 864 h 2121"/>
                <a:gd name="T28" fmla="*/ 483 w 1864"/>
                <a:gd name="T29" fmla="*/ 898 h 2121"/>
                <a:gd name="T30" fmla="*/ 500 w 1864"/>
                <a:gd name="T31" fmla="*/ 819 h 2121"/>
                <a:gd name="T32" fmla="*/ 625 w 1864"/>
                <a:gd name="T33" fmla="*/ 614 h 2121"/>
                <a:gd name="T34" fmla="*/ 756 w 1864"/>
                <a:gd name="T35" fmla="*/ 563 h 2121"/>
                <a:gd name="T36" fmla="*/ 773 w 1864"/>
                <a:gd name="T37" fmla="*/ 455 h 2121"/>
                <a:gd name="T38" fmla="*/ 938 w 1864"/>
                <a:gd name="T39" fmla="*/ 290 h 2121"/>
                <a:gd name="T40" fmla="*/ 1119 w 1864"/>
                <a:gd name="T41" fmla="*/ 120 h 2121"/>
                <a:gd name="T42" fmla="*/ 1198 w 1864"/>
                <a:gd name="T43" fmla="*/ 23 h 2121"/>
                <a:gd name="T44" fmla="*/ 1249 w 1864"/>
                <a:gd name="T45" fmla="*/ 0 h 2121"/>
                <a:gd name="T46" fmla="*/ 1272 w 1864"/>
                <a:gd name="T47" fmla="*/ 6 h 2121"/>
                <a:gd name="T48" fmla="*/ 1334 w 1864"/>
                <a:gd name="T49" fmla="*/ 108 h 2121"/>
                <a:gd name="T50" fmla="*/ 1397 w 1864"/>
                <a:gd name="T51" fmla="*/ 199 h 2121"/>
                <a:gd name="T52" fmla="*/ 1403 w 1864"/>
                <a:gd name="T53" fmla="*/ 336 h 2121"/>
                <a:gd name="T54" fmla="*/ 1380 w 1864"/>
                <a:gd name="T55" fmla="*/ 432 h 2121"/>
                <a:gd name="T56" fmla="*/ 1318 w 1864"/>
                <a:gd name="T57" fmla="*/ 608 h 2121"/>
                <a:gd name="T58" fmla="*/ 1386 w 1864"/>
                <a:gd name="T59" fmla="*/ 705 h 2121"/>
                <a:gd name="T60" fmla="*/ 1465 w 1864"/>
                <a:gd name="T61" fmla="*/ 784 h 2121"/>
                <a:gd name="T62" fmla="*/ 1533 w 1864"/>
                <a:gd name="T63" fmla="*/ 847 h 2121"/>
                <a:gd name="T64" fmla="*/ 1579 w 1864"/>
                <a:gd name="T65" fmla="*/ 983 h 2121"/>
                <a:gd name="T66" fmla="*/ 1692 w 1864"/>
                <a:gd name="T67" fmla="*/ 1142 h 2121"/>
                <a:gd name="T68" fmla="*/ 1772 w 1864"/>
                <a:gd name="T69" fmla="*/ 1233 h 2121"/>
                <a:gd name="T70" fmla="*/ 1715 w 1864"/>
                <a:gd name="T71" fmla="*/ 1398 h 2121"/>
                <a:gd name="T72" fmla="*/ 1698 w 1864"/>
                <a:gd name="T73" fmla="*/ 1466 h 2121"/>
                <a:gd name="T74" fmla="*/ 1806 w 1864"/>
                <a:gd name="T75" fmla="*/ 1443 h 2121"/>
                <a:gd name="T76" fmla="*/ 1857 w 1864"/>
                <a:gd name="T77" fmla="*/ 1614 h 2121"/>
                <a:gd name="T78" fmla="*/ 1568 w 1864"/>
                <a:gd name="T79" fmla="*/ 1801 h 2121"/>
                <a:gd name="T80" fmla="*/ 1482 w 1864"/>
                <a:gd name="T81" fmla="*/ 1762 h 2121"/>
                <a:gd name="T82" fmla="*/ 1471 w 1864"/>
                <a:gd name="T83" fmla="*/ 1813 h 2121"/>
                <a:gd name="T84" fmla="*/ 1329 w 1864"/>
                <a:gd name="T85" fmla="*/ 1818 h 2121"/>
                <a:gd name="T86" fmla="*/ 1158 w 1864"/>
                <a:gd name="T87" fmla="*/ 1932 h 2121"/>
                <a:gd name="T88" fmla="*/ 892 w 1864"/>
                <a:gd name="T89" fmla="*/ 2046 h 2121"/>
                <a:gd name="T90" fmla="*/ 943 w 1864"/>
                <a:gd name="T91" fmla="*/ 1949 h 2121"/>
                <a:gd name="T92" fmla="*/ 1012 w 1864"/>
                <a:gd name="T93" fmla="*/ 1938 h 2121"/>
                <a:gd name="T94" fmla="*/ 1176 w 1864"/>
                <a:gd name="T95" fmla="*/ 1767 h 2121"/>
                <a:gd name="T96" fmla="*/ 1040 w 1864"/>
                <a:gd name="T97" fmla="*/ 1659 h 2121"/>
                <a:gd name="T98" fmla="*/ 790 w 1864"/>
                <a:gd name="T99" fmla="*/ 1563 h 2121"/>
                <a:gd name="T100" fmla="*/ 659 w 1864"/>
                <a:gd name="T101" fmla="*/ 1478 h 2121"/>
                <a:gd name="T102" fmla="*/ 427 w 1864"/>
                <a:gd name="T103" fmla="*/ 1438 h 2121"/>
                <a:gd name="T104" fmla="*/ 279 w 1864"/>
                <a:gd name="T105" fmla="*/ 1415 h 2121"/>
                <a:gd name="T106" fmla="*/ 154 w 1864"/>
                <a:gd name="T107" fmla="*/ 1489 h 2121"/>
                <a:gd name="T108" fmla="*/ 40 w 1864"/>
                <a:gd name="T109" fmla="*/ 1557 h 2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64" h="2121">
                  <a:moveTo>
                    <a:pt x="387" y="801"/>
                  </a:moveTo>
                  <a:lnTo>
                    <a:pt x="387" y="801"/>
                  </a:lnTo>
                  <a:cubicBezTo>
                    <a:pt x="381" y="790"/>
                    <a:pt x="364" y="784"/>
                    <a:pt x="353" y="796"/>
                  </a:cubicBezTo>
                  <a:cubicBezTo>
                    <a:pt x="341" y="801"/>
                    <a:pt x="336" y="801"/>
                    <a:pt x="324" y="813"/>
                  </a:cubicBezTo>
                  <a:cubicBezTo>
                    <a:pt x="313" y="824"/>
                    <a:pt x="324" y="847"/>
                    <a:pt x="341" y="836"/>
                  </a:cubicBezTo>
                  <a:cubicBezTo>
                    <a:pt x="353" y="836"/>
                    <a:pt x="358" y="830"/>
                    <a:pt x="370" y="836"/>
                  </a:cubicBezTo>
                  <a:cubicBezTo>
                    <a:pt x="375" y="836"/>
                    <a:pt x="381" y="836"/>
                    <a:pt x="381" y="836"/>
                  </a:cubicBezTo>
                  <a:cubicBezTo>
                    <a:pt x="387" y="830"/>
                    <a:pt x="387" y="819"/>
                    <a:pt x="387" y="813"/>
                  </a:cubicBezTo>
                  <a:cubicBezTo>
                    <a:pt x="387" y="801"/>
                    <a:pt x="387" y="801"/>
                    <a:pt x="387" y="801"/>
                  </a:cubicBezTo>
                  <a:close/>
                  <a:moveTo>
                    <a:pt x="6" y="1540"/>
                  </a:moveTo>
                  <a:lnTo>
                    <a:pt x="6" y="1540"/>
                  </a:lnTo>
                  <a:cubicBezTo>
                    <a:pt x="40" y="1512"/>
                    <a:pt x="0" y="1455"/>
                    <a:pt x="46" y="1421"/>
                  </a:cubicBezTo>
                  <a:cubicBezTo>
                    <a:pt x="69" y="1409"/>
                    <a:pt x="34" y="1347"/>
                    <a:pt x="40" y="1330"/>
                  </a:cubicBezTo>
                  <a:cubicBezTo>
                    <a:pt x="46" y="1324"/>
                    <a:pt x="63" y="1324"/>
                    <a:pt x="63" y="1330"/>
                  </a:cubicBezTo>
                  <a:cubicBezTo>
                    <a:pt x="74" y="1347"/>
                    <a:pt x="69" y="1375"/>
                    <a:pt x="97" y="1375"/>
                  </a:cubicBezTo>
                  <a:cubicBezTo>
                    <a:pt x="103" y="1375"/>
                    <a:pt x="148" y="1370"/>
                    <a:pt x="148" y="1370"/>
                  </a:cubicBezTo>
                  <a:cubicBezTo>
                    <a:pt x="148" y="1358"/>
                    <a:pt x="142" y="1347"/>
                    <a:pt x="148" y="1341"/>
                  </a:cubicBezTo>
                  <a:cubicBezTo>
                    <a:pt x="171" y="1324"/>
                    <a:pt x="171" y="1330"/>
                    <a:pt x="177" y="1301"/>
                  </a:cubicBezTo>
                  <a:cubicBezTo>
                    <a:pt x="182" y="1262"/>
                    <a:pt x="165" y="1250"/>
                    <a:pt x="205" y="1228"/>
                  </a:cubicBezTo>
                  <a:cubicBezTo>
                    <a:pt x="222" y="1222"/>
                    <a:pt x="245" y="1228"/>
                    <a:pt x="262" y="1222"/>
                  </a:cubicBezTo>
                  <a:cubicBezTo>
                    <a:pt x="279" y="1216"/>
                    <a:pt x="313" y="1233"/>
                    <a:pt x="313" y="1205"/>
                  </a:cubicBezTo>
                  <a:cubicBezTo>
                    <a:pt x="307" y="1193"/>
                    <a:pt x="296" y="1188"/>
                    <a:pt x="296" y="1177"/>
                  </a:cubicBezTo>
                  <a:cubicBezTo>
                    <a:pt x="296" y="1165"/>
                    <a:pt x="313" y="1148"/>
                    <a:pt x="319" y="1137"/>
                  </a:cubicBezTo>
                  <a:cubicBezTo>
                    <a:pt x="313" y="1114"/>
                    <a:pt x="313" y="1097"/>
                    <a:pt x="313" y="1069"/>
                  </a:cubicBezTo>
                  <a:cubicBezTo>
                    <a:pt x="319" y="1057"/>
                    <a:pt x="307" y="1040"/>
                    <a:pt x="307" y="1023"/>
                  </a:cubicBezTo>
                  <a:cubicBezTo>
                    <a:pt x="307" y="1017"/>
                    <a:pt x="319" y="1012"/>
                    <a:pt x="330" y="1006"/>
                  </a:cubicBezTo>
                  <a:cubicBezTo>
                    <a:pt x="358" y="1000"/>
                    <a:pt x="364" y="949"/>
                    <a:pt x="370" y="926"/>
                  </a:cubicBezTo>
                  <a:cubicBezTo>
                    <a:pt x="370" y="909"/>
                    <a:pt x="347" y="887"/>
                    <a:pt x="364" y="864"/>
                  </a:cubicBezTo>
                  <a:cubicBezTo>
                    <a:pt x="370" y="858"/>
                    <a:pt x="387" y="898"/>
                    <a:pt x="392" y="904"/>
                  </a:cubicBezTo>
                  <a:cubicBezTo>
                    <a:pt x="404" y="926"/>
                    <a:pt x="466" y="904"/>
                    <a:pt x="483" y="898"/>
                  </a:cubicBezTo>
                  <a:cubicBezTo>
                    <a:pt x="495" y="898"/>
                    <a:pt x="517" y="892"/>
                    <a:pt x="506" y="875"/>
                  </a:cubicBezTo>
                  <a:cubicBezTo>
                    <a:pt x="495" y="858"/>
                    <a:pt x="500" y="836"/>
                    <a:pt x="500" y="819"/>
                  </a:cubicBezTo>
                  <a:cubicBezTo>
                    <a:pt x="523" y="779"/>
                    <a:pt x="540" y="733"/>
                    <a:pt x="569" y="693"/>
                  </a:cubicBezTo>
                  <a:cubicBezTo>
                    <a:pt x="580" y="682"/>
                    <a:pt x="620" y="614"/>
                    <a:pt x="625" y="614"/>
                  </a:cubicBezTo>
                  <a:cubicBezTo>
                    <a:pt x="665" y="614"/>
                    <a:pt x="722" y="637"/>
                    <a:pt x="733" y="585"/>
                  </a:cubicBezTo>
                  <a:cubicBezTo>
                    <a:pt x="733" y="574"/>
                    <a:pt x="750" y="574"/>
                    <a:pt x="756" y="563"/>
                  </a:cubicBezTo>
                  <a:cubicBezTo>
                    <a:pt x="762" y="540"/>
                    <a:pt x="750" y="534"/>
                    <a:pt x="762" y="512"/>
                  </a:cubicBezTo>
                  <a:cubicBezTo>
                    <a:pt x="779" y="495"/>
                    <a:pt x="773" y="478"/>
                    <a:pt x="773" y="455"/>
                  </a:cubicBezTo>
                  <a:cubicBezTo>
                    <a:pt x="784" y="410"/>
                    <a:pt x="813" y="358"/>
                    <a:pt x="841" y="330"/>
                  </a:cubicBezTo>
                  <a:cubicBezTo>
                    <a:pt x="870" y="302"/>
                    <a:pt x="898" y="302"/>
                    <a:pt x="938" y="290"/>
                  </a:cubicBezTo>
                  <a:cubicBezTo>
                    <a:pt x="995" y="279"/>
                    <a:pt x="1017" y="199"/>
                    <a:pt x="1051" y="165"/>
                  </a:cubicBezTo>
                  <a:cubicBezTo>
                    <a:pt x="1074" y="142"/>
                    <a:pt x="1097" y="142"/>
                    <a:pt x="1119" y="120"/>
                  </a:cubicBezTo>
                  <a:cubicBezTo>
                    <a:pt x="1176" y="46"/>
                    <a:pt x="1176" y="46"/>
                    <a:pt x="1176" y="46"/>
                  </a:cubicBezTo>
                  <a:cubicBezTo>
                    <a:pt x="1187" y="40"/>
                    <a:pt x="1192" y="34"/>
                    <a:pt x="1198" y="23"/>
                  </a:cubicBezTo>
                  <a:cubicBezTo>
                    <a:pt x="1204" y="18"/>
                    <a:pt x="1221" y="6"/>
                    <a:pt x="1232" y="6"/>
                  </a:cubicBezTo>
                  <a:cubicBezTo>
                    <a:pt x="1238" y="6"/>
                    <a:pt x="1244" y="0"/>
                    <a:pt x="1249" y="0"/>
                  </a:cubicBezTo>
                  <a:cubicBezTo>
                    <a:pt x="1255" y="0"/>
                    <a:pt x="1266" y="6"/>
                    <a:pt x="1272" y="6"/>
                  </a:cubicBezTo>
                  <a:lnTo>
                    <a:pt x="1272" y="6"/>
                  </a:lnTo>
                  <a:cubicBezTo>
                    <a:pt x="1272" y="29"/>
                    <a:pt x="1272" y="40"/>
                    <a:pt x="1295" y="52"/>
                  </a:cubicBezTo>
                  <a:cubicBezTo>
                    <a:pt x="1323" y="57"/>
                    <a:pt x="1329" y="86"/>
                    <a:pt x="1334" y="108"/>
                  </a:cubicBezTo>
                  <a:cubicBezTo>
                    <a:pt x="1340" y="137"/>
                    <a:pt x="1391" y="131"/>
                    <a:pt x="1408" y="137"/>
                  </a:cubicBezTo>
                  <a:cubicBezTo>
                    <a:pt x="1408" y="154"/>
                    <a:pt x="1386" y="182"/>
                    <a:pt x="1397" y="199"/>
                  </a:cubicBezTo>
                  <a:cubicBezTo>
                    <a:pt x="1403" y="222"/>
                    <a:pt x="1437" y="228"/>
                    <a:pt x="1437" y="256"/>
                  </a:cubicBezTo>
                  <a:cubicBezTo>
                    <a:pt x="1426" y="284"/>
                    <a:pt x="1414" y="307"/>
                    <a:pt x="1403" y="336"/>
                  </a:cubicBezTo>
                  <a:cubicBezTo>
                    <a:pt x="1397" y="358"/>
                    <a:pt x="1397" y="381"/>
                    <a:pt x="1386" y="398"/>
                  </a:cubicBezTo>
                  <a:cubicBezTo>
                    <a:pt x="1380" y="415"/>
                    <a:pt x="1363" y="410"/>
                    <a:pt x="1380" y="432"/>
                  </a:cubicBezTo>
                  <a:cubicBezTo>
                    <a:pt x="1414" y="466"/>
                    <a:pt x="1369" y="461"/>
                    <a:pt x="1363" y="489"/>
                  </a:cubicBezTo>
                  <a:cubicBezTo>
                    <a:pt x="1346" y="534"/>
                    <a:pt x="1340" y="569"/>
                    <a:pt x="1318" y="608"/>
                  </a:cubicBezTo>
                  <a:cubicBezTo>
                    <a:pt x="1312" y="631"/>
                    <a:pt x="1357" y="625"/>
                    <a:pt x="1374" y="631"/>
                  </a:cubicBezTo>
                  <a:cubicBezTo>
                    <a:pt x="1391" y="637"/>
                    <a:pt x="1386" y="688"/>
                    <a:pt x="1386" y="705"/>
                  </a:cubicBezTo>
                  <a:cubicBezTo>
                    <a:pt x="1380" y="733"/>
                    <a:pt x="1363" y="767"/>
                    <a:pt x="1386" y="790"/>
                  </a:cubicBezTo>
                  <a:cubicBezTo>
                    <a:pt x="1408" y="813"/>
                    <a:pt x="1437" y="784"/>
                    <a:pt x="1465" y="784"/>
                  </a:cubicBezTo>
                  <a:cubicBezTo>
                    <a:pt x="1488" y="784"/>
                    <a:pt x="1477" y="819"/>
                    <a:pt x="1488" y="836"/>
                  </a:cubicBezTo>
                  <a:cubicBezTo>
                    <a:pt x="1499" y="853"/>
                    <a:pt x="1533" y="830"/>
                    <a:pt x="1533" y="847"/>
                  </a:cubicBezTo>
                  <a:cubicBezTo>
                    <a:pt x="1545" y="875"/>
                    <a:pt x="1511" y="921"/>
                    <a:pt x="1545" y="943"/>
                  </a:cubicBezTo>
                  <a:cubicBezTo>
                    <a:pt x="1562" y="961"/>
                    <a:pt x="1579" y="949"/>
                    <a:pt x="1579" y="983"/>
                  </a:cubicBezTo>
                  <a:cubicBezTo>
                    <a:pt x="1579" y="1023"/>
                    <a:pt x="1624" y="1012"/>
                    <a:pt x="1653" y="1034"/>
                  </a:cubicBezTo>
                  <a:cubicBezTo>
                    <a:pt x="1687" y="1063"/>
                    <a:pt x="1692" y="1097"/>
                    <a:pt x="1692" y="1142"/>
                  </a:cubicBezTo>
                  <a:cubicBezTo>
                    <a:pt x="1692" y="1182"/>
                    <a:pt x="1721" y="1165"/>
                    <a:pt x="1744" y="1182"/>
                  </a:cubicBezTo>
                  <a:cubicBezTo>
                    <a:pt x="1755" y="1188"/>
                    <a:pt x="1772" y="1222"/>
                    <a:pt x="1772" y="1233"/>
                  </a:cubicBezTo>
                  <a:cubicBezTo>
                    <a:pt x="1766" y="1250"/>
                    <a:pt x="1738" y="1267"/>
                    <a:pt x="1749" y="1290"/>
                  </a:cubicBezTo>
                  <a:cubicBezTo>
                    <a:pt x="1761" y="1324"/>
                    <a:pt x="1721" y="1364"/>
                    <a:pt x="1715" y="1398"/>
                  </a:cubicBezTo>
                  <a:cubicBezTo>
                    <a:pt x="1710" y="1409"/>
                    <a:pt x="1710" y="1426"/>
                    <a:pt x="1710" y="1438"/>
                  </a:cubicBezTo>
                  <a:cubicBezTo>
                    <a:pt x="1710" y="1449"/>
                    <a:pt x="1698" y="1460"/>
                    <a:pt x="1698" y="1466"/>
                  </a:cubicBezTo>
                  <a:cubicBezTo>
                    <a:pt x="1692" y="1472"/>
                    <a:pt x="1710" y="1517"/>
                    <a:pt x="1721" y="1500"/>
                  </a:cubicBezTo>
                  <a:cubicBezTo>
                    <a:pt x="1732" y="1483"/>
                    <a:pt x="1783" y="1415"/>
                    <a:pt x="1806" y="1443"/>
                  </a:cubicBezTo>
                  <a:cubicBezTo>
                    <a:pt x="1823" y="1478"/>
                    <a:pt x="1835" y="1523"/>
                    <a:pt x="1835" y="1557"/>
                  </a:cubicBezTo>
                  <a:cubicBezTo>
                    <a:pt x="1857" y="1614"/>
                    <a:pt x="1857" y="1614"/>
                    <a:pt x="1857" y="1614"/>
                  </a:cubicBezTo>
                  <a:cubicBezTo>
                    <a:pt x="1812" y="1699"/>
                    <a:pt x="1863" y="1790"/>
                    <a:pt x="1692" y="1790"/>
                  </a:cubicBezTo>
                  <a:cubicBezTo>
                    <a:pt x="1647" y="1790"/>
                    <a:pt x="1607" y="1796"/>
                    <a:pt x="1568" y="1801"/>
                  </a:cubicBezTo>
                  <a:cubicBezTo>
                    <a:pt x="1556" y="1779"/>
                    <a:pt x="1545" y="1739"/>
                    <a:pt x="1511" y="1745"/>
                  </a:cubicBezTo>
                  <a:cubicBezTo>
                    <a:pt x="1499" y="1745"/>
                    <a:pt x="1482" y="1750"/>
                    <a:pt x="1482" y="1762"/>
                  </a:cubicBezTo>
                  <a:cubicBezTo>
                    <a:pt x="1482" y="1779"/>
                    <a:pt x="1477" y="1790"/>
                    <a:pt x="1477" y="1807"/>
                  </a:cubicBezTo>
                  <a:cubicBezTo>
                    <a:pt x="1471" y="1813"/>
                    <a:pt x="1471" y="1813"/>
                    <a:pt x="1471" y="1813"/>
                  </a:cubicBezTo>
                  <a:cubicBezTo>
                    <a:pt x="1460" y="1813"/>
                    <a:pt x="1454" y="1813"/>
                    <a:pt x="1448" y="1813"/>
                  </a:cubicBezTo>
                  <a:cubicBezTo>
                    <a:pt x="1403" y="1813"/>
                    <a:pt x="1363" y="1813"/>
                    <a:pt x="1329" y="1818"/>
                  </a:cubicBezTo>
                  <a:cubicBezTo>
                    <a:pt x="1283" y="1864"/>
                    <a:pt x="1238" y="1836"/>
                    <a:pt x="1198" y="1881"/>
                  </a:cubicBezTo>
                  <a:cubicBezTo>
                    <a:pt x="1181" y="1892"/>
                    <a:pt x="1170" y="1921"/>
                    <a:pt x="1158" y="1932"/>
                  </a:cubicBezTo>
                  <a:cubicBezTo>
                    <a:pt x="1130" y="1949"/>
                    <a:pt x="1074" y="1955"/>
                    <a:pt x="1034" y="1978"/>
                  </a:cubicBezTo>
                  <a:cubicBezTo>
                    <a:pt x="1000" y="2000"/>
                    <a:pt x="927" y="2120"/>
                    <a:pt x="892" y="2046"/>
                  </a:cubicBezTo>
                  <a:cubicBezTo>
                    <a:pt x="887" y="2034"/>
                    <a:pt x="864" y="1983"/>
                    <a:pt x="887" y="1983"/>
                  </a:cubicBezTo>
                  <a:cubicBezTo>
                    <a:pt x="904" y="1983"/>
                    <a:pt x="927" y="1960"/>
                    <a:pt x="943" y="1949"/>
                  </a:cubicBezTo>
                  <a:cubicBezTo>
                    <a:pt x="961" y="1943"/>
                    <a:pt x="978" y="1960"/>
                    <a:pt x="995" y="1960"/>
                  </a:cubicBezTo>
                  <a:cubicBezTo>
                    <a:pt x="1012" y="1960"/>
                    <a:pt x="1000" y="1943"/>
                    <a:pt x="1012" y="1938"/>
                  </a:cubicBezTo>
                  <a:cubicBezTo>
                    <a:pt x="1040" y="1887"/>
                    <a:pt x="1080" y="1864"/>
                    <a:pt x="1124" y="1830"/>
                  </a:cubicBezTo>
                  <a:cubicBezTo>
                    <a:pt x="1158" y="1807"/>
                    <a:pt x="1158" y="1796"/>
                    <a:pt x="1176" y="1767"/>
                  </a:cubicBezTo>
                  <a:cubicBezTo>
                    <a:pt x="1204" y="1733"/>
                    <a:pt x="1181" y="1722"/>
                    <a:pt x="1164" y="1693"/>
                  </a:cubicBezTo>
                  <a:cubicBezTo>
                    <a:pt x="1124" y="1676"/>
                    <a:pt x="1080" y="1642"/>
                    <a:pt x="1040" y="1659"/>
                  </a:cubicBezTo>
                  <a:cubicBezTo>
                    <a:pt x="983" y="1693"/>
                    <a:pt x="961" y="1602"/>
                    <a:pt x="938" y="1614"/>
                  </a:cubicBezTo>
                  <a:cubicBezTo>
                    <a:pt x="898" y="1625"/>
                    <a:pt x="841" y="1551"/>
                    <a:pt x="790" y="1563"/>
                  </a:cubicBezTo>
                  <a:cubicBezTo>
                    <a:pt x="773" y="1568"/>
                    <a:pt x="750" y="1540"/>
                    <a:pt x="722" y="1534"/>
                  </a:cubicBezTo>
                  <a:cubicBezTo>
                    <a:pt x="693" y="1529"/>
                    <a:pt x="665" y="1478"/>
                    <a:pt x="659" y="1478"/>
                  </a:cubicBezTo>
                  <a:cubicBezTo>
                    <a:pt x="659" y="1472"/>
                    <a:pt x="625" y="1478"/>
                    <a:pt x="614" y="1478"/>
                  </a:cubicBezTo>
                  <a:cubicBezTo>
                    <a:pt x="546" y="1483"/>
                    <a:pt x="489" y="1438"/>
                    <a:pt x="427" y="1438"/>
                  </a:cubicBezTo>
                  <a:cubicBezTo>
                    <a:pt x="409" y="1443"/>
                    <a:pt x="336" y="1574"/>
                    <a:pt x="313" y="1540"/>
                  </a:cubicBezTo>
                  <a:cubicBezTo>
                    <a:pt x="290" y="1512"/>
                    <a:pt x="279" y="1455"/>
                    <a:pt x="279" y="1415"/>
                  </a:cubicBezTo>
                  <a:cubicBezTo>
                    <a:pt x="279" y="1404"/>
                    <a:pt x="245" y="1352"/>
                    <a:pt x="245" y="1392"/>
                  </a:cubicBezTo>
                  <a:cubicBezTo>
                    <a:pt x="245" y="1415"/>
                    <a:pt x="171" y="1472"/>
                    <a:pt x="154" y="1489"/>
                  </a:cubicBezTo>
                  <a:cubicBezTo>
                    <a:pt x="137" y="1506"/>
                    <a:pt x="114" y="1512"/>
                    <a:pt x="97" y="1529"/>
                  </a:cubicBezTo>
                  <a:cubicBezTo>
                    <a:pt x="80" y="1540"/>
                    <a:pt x="69" y="1568"/>
                    <a:pt x="40" y="1557"/>
                  </a:cubicBezTo>
                  <a:cubicBezTo>
                    <a:pt x="6" y="1540"/>
                    <a:pt x="6" y="1540"/>
                    <a:pt x="6" y="154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C30D3D79-CDED-5B9E-A0AA-A18887753EC2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  <p:grpSp>
        <p:nvGrpSpPr>
          <p:cNvPr id="4" name="Gruppieren 96">
            <a:extLst>
              <a:ext uri="{FF2B5EF4-FFF2-40B4-BE49-F238E27FC236}">
                <a16:creationId xmlns:a16="http://schemas.microsoft.com/office/drawing/2014/main" id="{5DE11675-B3D2-C5EE-278C-C597A5529F20}"/>
              </a:ext>
            </a:extLst>
          </p:cNvPr>
          <p:cNvGrpSpPr>
            <a:grpSpLocks/>
          </p:cNvGrpSpPr>
          <p:nvPr/>
        </p:nvGrpSpPr>
        <p:grpSpPr>
          <a:xfrm>
            <a:off x="5923889" y="2676974"/>
            <a:ext cx="304976" cy="304976"/>
            <a:chOff x="3476538" y="3554481"/>
            <a:chExt cx="828675" cy="828675"/>
          </a:xfrm>
        </p:grpSpPr>
        <p:sp>
          <p:nvSpPr>
            <p:cNvPr id="6" name="Träne 97">
              <a:extLst>
                <a:ext uri="{FF2B5EF4-FFF2-40B4-BE49-F238E27FC236}">
                  <a16:creationId xmlns:a16="http://schemas.microsoft.com/office/drawing/2014/main" id="{4856DE79-5149-60B3-3B99-2D85B48F20DB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25" name="Ellipse 98">
              <a:extLst>
                <a:ext uri="{FF2B5EF4-FFF2-40B4-BE49-F238E27FC236}">
                  <a16:creationId xmlns:a16="http://schemas.microsoft.com/office/drawing/2014/main" id="{BD6FCCD5-6D1F-6009-B062-E4180B17AB08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FC6DA3A0-DF88-4D25-9538-CE1B32180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3BE9C57C-71DE-42A0-870E-FF6E308D5B8B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b="1" dirty="0">
              <a:solidFill>
                <a:srgbClr val="03522D"/>
              </a:solidFill>
              <a:latin typeface="理想品牌字体 2022"/>
              <a:ea typeface="理想品牌字体 2022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400" b="1" dirty="0">
                <a:solidFill>
                  <a:srgbClr val="03522D"/>
                </a:solidFill>
                <a:latin typeface="理想品牌字体 2022"/>
                <a:ea typeface="理想品牌字体 2022"/>
                <a:sym typeface="Futura"/>
              </a:rPr>
              <a:t>{bullet_2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6235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宽屏</PresentationFormat>
  <Paragraphs>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6:13:33Z</dcterms:created>
  <dcterms:modified xsi:type="dcterms:W3CDTF">2025-09-04T06:13:56Z</dcterms:modified>
</cp:coreProperties>
</file>